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3.xml" ContentType="application/vnd.openxmlformats-officedocument.drawingml.chart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4.xml" ContentType="application/vnd.openxmlformats-officedocument.presentationml.tags+xml"/>
  <Override PartName="/ppt/notesSlides/notesSlide19.xml" ContentType="application/vnd.openxmlformats-officedocument.presentationml.notesSlide+xml"/>
  <Override PartName="/ppt/tags/tag5.xml" ContentType="application/vnd.openxmlformats-officedocument.presentationml.tags+xml"/>
  <Override PartName="/ppt/notesSlides/notesSlide20.xml" ContentType="application/vnd.openxmlformats-officedocument.presentationml.notesSlide+xml"/>
  <Override PartName="/ppt/tags/tag6.xml" ContentType="application/vnd.openxmlformats-officedocument.presentationml.tags+xml"/>
  <Override PartName="/ppt/notesSlides/notesSlide21.xml" ContentType="application/vnd.openxmlformats-officedocument.presentationml.notesSlide+xml"/>
  <Override PartName="/ppt/tags/tag7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6.xml" ContentType="application/vnd.openxmlformats-officedocument.presentationml.notesSlide+xml"/>
  <Override PartName="/ppt/tags/tag8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5.xml" ContentType="application/vnd.openxmlformats-officedocument.drawingml.chart+xml"/>
  <Override PartName="/ppt/notesSlides/notesSlide28.xml" ContentType="application/vnd.openxmlformats-officedocument.presentationml.notesSlide+xml"/>
  <Override PartName="/ppt/tags/tag9.xml" ContentType="application/vnd.openxmlformats-officedocument.presentationml.tags+xml"/>
  <Override PartName="/ppt/notesSlides/notesSlide29.xml" ContentType="application/vnd.openxmlformats-officedocument.presentationml.notesSlide+xml"/>
  <Override PartName="/ppt/tags/tag10.xml" ContentType="application/vnd.openxmlformats-officedocument.presentationml.tags+xml"/>
  <Override PartName="/ppt/notesSlides/notesSlide30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9" r:id="rId2"/>
  </p:sldMasterIdLst>
  <p:notesMasterIdLst>
    <p:notesMasterId r:id="rId38"/>
  </p:notesMasterIdLst>
  <p:handoutMasterIdLst>
    <p:handoutMasterId r:id="rId39"/>
  </p:handoutMasterIdLst>
  <p:sldIdLst>
    <p:sldId id="330" r:id="rId3"/>
    <p:sldId id="334" r:id="rId4"/>
    <p:sldId id="361" r:id="rId5"/>
    <p:sldId id="328" r:id="rId6"/>
    <p:sldId id="345" r:id="rId7"/>
    <p:sldId id="351" r:id="rId8"/>
    <p:sldId id="352" r:id="rId9"/>
    <p:sldId id="321" r:id="rId10"/>
    <p:sldId id="310" r:id="rId11"/>
    <p:sldId id="262" r:id="rId12"/>
    <p:sldId id="353" r:id="rId13"/>
    <p:sldId id="356" r:id="rId14"/>
    <p:sldId id="335" r:id="rId15"/>
    <p:sldId id="355" r:id="rId16"/>
    <p:sldId id="307" r:id="rId17"/>
    <p:sldId id="354" r:id="rId18"/>
    <p:sldId id="360" r:id="rId19"/>
    <p:sldId id="302" r:id="rId20"/>
    <p:sldId id="294" r:id="rId21"/>
    <p:sldId id="298" r:id="rId22"/>
    <p:sldId id="305" r:id="rId23"/>
    <p:sldId id="304" r:id="rId24"/>
    <p:sldId id="341" r:id="rId25"/>
    <p:sldId id="288" r:id="rId26"/>
    <p:sldId id="303" r:id="rId27"/>
    <p:sldId id="358" r:id="rId28"/>
    <p:sldId id="325" r:id="rId29"/>
    <p:sldId id="331" r:id="rId30"/>
    <p:sldId id="299" r:id="rId31"/>
    <p:sldId id="301" r:id="rId32"/>
    <p:sldId id="266" r:id="rId33"/>
    <p:sldId id="339" r:id="rId34"/>
    <p:sldId id="336" r:id="rId35"/>
    <p:sldId id="332" r:id="rId36"/>
    <p:sldId id="362" r:id="rId37"/>
  </p:sldIdLst>
  <p:sldSz cx="12192000" cy="6858000"/>
  <p:notesSz cx="6858000" cy="9144000"/>
  <p:custDataLst>
    <p:tags r:id="rId4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859" autoAdjust="0"/>
    <p:restoredTop sz="92237" autoAdjust="0"/>
  </p:normalViewPr>
  <p:slideViewPr>
    <p:cSldViewPr snapToGrid="0" showGuides="1">
      <p:cViewPr varScale="1">
        <p:scale>
          <a:sx n="88" d="100"/>
          <a:sy n="88" d="100"/>
        </p:scale>
        <p:origin x="87" y="72"/>
      </p:cViewPr>
      <p:guideLst>
        <p:guide orient="horz" pos="2183"/>
        <p:guide pos="3840"/>
        <p:guide pos="211"/>
        <p:guide pos="746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140-4D71-914C-F6F507E41499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140-4D71-914C-F6F507E41499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0140-4D71-914C-F6F507E41499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0140-4D71-914C-F6F507E41499}"/>
              </c:ext>
            </c:extLst>
          </c:dPt>
          <c:cat>
            <c:strRef>
              <c:f>Sheet1!$A$2:$A$5</c:f>
              <c:strCache>
                <c:ptCount val="4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140-4D71-914C-F6F507E414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596481800079346"/>
          <c:w val="1"/>
          <c:h val="0.176708087325096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 smtId="4294967295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等线" panose="02010600030101010101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mtId="4294967295"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17A-4CD5-95F6-960627ADDBCE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17A-4CD5-95F6-960627ADDBCE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17A-4CD5-95F6-960627ADDBCE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B17A-4CD5-95F6-960627ADDBCE}"/>
              </c:ext>
            </c:extLst>
          </c:dPt>
          <c:cat>
            <c:strRef>
              <c:f>Sheet1!$A$2:$A$5</c:f>
              <c:strCache>
                <c:ptCount val="4"/>
                <c:pt idx="0">
                  <c:v>Data 1</c:v>
                </c:pt>
                <c:pt idx="1">
                  <c:v>Data 2</c:v>
                </c:pt>
                <c:pt idx="2">
                  <c:v>Data 3</c:v>
                </c:pt>
                <c:pt idx="3">
                  <c:v>Data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0</c:v>
                </c:pt>
                <c:pt idx="1">
                  <c:v>30</c:v>
                </c:pt>
                <c:pt idx="2">
                  <c:v>4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17A-4CD5-95F6-960627ADDB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2208305597305298"/>
          <c:w val="1"/>
          <c:h val="0.1767080873250961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zh-CN" sz="1050" b="0" i="0" u="none" strike="noStrike" kern="1200" baseline="0" smtId="4294967295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等线" panose="02010600030101010101" charset="-122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mtId="4294967295"/>
      </a:pPr>
      <a:endParaRPr lang="zh-CN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0"/>
      </c:doughnutChart>
    </c:plotArea>
    <c:plotVisOnly val="1"/>
    <c:dispBlanksAs val="gap"/>
    <c:showDLblsOverMax val="0"/>
  </c:chart>
  <c:spPr>
    <a:ln>
      <a:noFill/>
    </a:ln>
  </c:spPr>
  <c:txPr>
    <a:bodyPr/>
    <a:lstStyle/>
    <a:p>
      <a:pPr>
        <a:defRPr lang="zh-CN" sz="2400" b="1" baseline="-25000" smtId="4294967295">
          <a:solidFill>
            <a:schemeClr val="bg1"/>
          </a:solidFill>
        </a:defRPr>
      </a:pPr>
      <a:endParaRPr lang="zh-CN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395607233047485E-2"/>
          <c:y val="3.8933690637350082E-2"/>
          <c:w val="0.94260436296463013"/>
          <c:h val="0.859460830688476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flip="none" rotWithShape="1">
              <a:gsLst>
                <a:gs pos="10000">
                  <a:schemeClr val="accent1"/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 flip="none" rotWithShape="1">
                <a:gsLst>
                  <a:gs pos="1000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F33-40D0-BB6D-D1A5F8031659}"/>
              </c:ext>
            </c:extLst>
          </c:dPt>
          <c:dPt>
            <c:idx val="1"/>
            <c:invertIfNegative val="0"/>
            <c:bubble3D val="0"/>
            <c:spPr>
              <a:gradFill flip="none" rotWithShape="1">
                <a:gsLst>
                  <a:gs pos="1000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F33-40D0-BB6D-D1A5F8031659}"/>
              </c:ext>
            </c:extLst>
          </c:dPt>
          <c:dPt>
            <c:idx val="2"/>
            <c:invertIfNegative val="0"/>
            <c:bubble3D val="0"/>
            <c:spPr>
              <a:gradFill flip="none" rotWithShape="1">
                <a:gsLst>
                  <a:gs pos="1000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F33-40D0-BB6D-D1A5F8031659}"/>
              </c:ext>
            </c:extLst>
          </c:dPt>
          <c:dPt>
            <c:idx val="3"/>
            <c:invertIfNegative val="0"/>
            <c:bubble3D val="0"/>
            <c:spPr>
              <a:gradFill flip="none" rotWithShape="1">
                <a:gsLst>
                  <a:gs pos="1000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F33-40D0-BB6D-D1A5F8031659}"/>
              </c:ext>
            </c:extLst>
          </c:dPt>
          <c:dPt>
            <c:idx val="4"/>
            <c:invertIfNegative val="0"/>
            <c:bubble3D val="0"/>
            <c:spPr>
              <a:gradFill flip="none" rotWithShape="1">
                <a:gsLst>
                  <a:gs pos="10000">
                    <a:schemeClr val="accent1"/>
                  </a:gs>
                  <a:gs pos="100000">
                    <a:schemeClr val="accent1">
                      <a:lumMod val="60000"/>
                      <a:lumOff val="40000"/>
                    </a:schemeClr>
                  </a:gs>
                </a:gsLst>
                <a:lin ang="5400000" scaled="1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F33-40D0-BB6D-D1A5F8031659}"/>
              </c:ext>
            </c:extLst>
          </c:dPt>
          <c:cat>
            <c:numRef>
              <c:f>Sheet1!$A$2:$A$6</c:f>
              <c:numCache>
                <c:formatCode>General</c:formatCode>
                <c:ptCount val="5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7</c:v>
                </c:pt>
                <c:pt idx="4">
                  <c:v>4.9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F33-40D0-BB6D-D1A5F80316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24229016"/>
        <c:axId val="824229408"/>
      </c:barChart>
      <c:catAx>
        <c:axId val="824229016"/>
        <c:scaling>
          <c:orientation val="minMax"/>
        </c:scaling>
        <c:delete val="0"/>
        <c:axPos val="b"/>
        <c:minorGridlines>
          <c:spPr>
            <a:ln w="9525" cap="flat" cmpd="sng" algn="ctr">
              <a:solidFill>
                <a:schemeClr val="bg1">
                  <a:lumMod val="65000"/>
                  <a:alpha val="20000"/>
                </a:schemeClr>
              </a:solidFill>
              <a:round/>
            </a:ln>
            <a:effectLst/>
          </c:spPr>
        </c:min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  <a:alpha val="2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 smtId="4294967295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等线"/>
                <a:cs typeface="等线" panose="02010600030101010101" charset="-122"/>
              </a:defRPr>
            </a:pPr>
            <a:endParaRPr lang="zh-CN"/>
          </a:p>
        </c:txPr>
        <c:crossAx val="824229408"/>
        <c:crosses val="autoZero"/>
        <c:auto val="0"/>
        <c:lblAlgn val="ctr"/>
        <c:lblOffset val="100"/>
        <c:noMultiLvlLbl val="0"/>
      </c:catAx>
      <c:valAx>
        <c:axId val="82422940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bg1">
                <a:lumMod val="65000"/>
                <a:alpha val="2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900" b="0" i="0" u="none" strike="noStrike" kern="1200" baseline="0" smtId="4294967295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等线"/>
                <a:cs typeface="等线" panose="02010600030101010101" charset="-122"/>
              </a:defRPr>
            </a:pPr>
            <a:endParaRPr lang="zh-CN"/>
          </a:p>
        </c:txPr>
        <c:crossAx val="824229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900" smtId="4294967295">
          <a:solidFill>
            <a:schemeClr val="tx1">
              <a:lumMod val="50000"/>
              <a:lumOff val="50000"/>
            </a:schemeClr>
          </a:solidFill>
          <a:latin typeface="+mn-lt"/>
          <a:ea typeface="等线"/>
          <a:cs typeface="等线" panose="02010600030101010101" charset="-122"/>
        </a:defRPr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00206258893013E-2"/>
          <c:y val="7.6165221631526947E-2"/>
          <c:w val="0.96018832921981812"/>
          <c:h val="0.92020785808563232"/>
        </c:manualLayout>
      </c:layout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ype A</c:v>
                </c:pt>
              </c:strCache>
            </c:strRef>
          </c:tx>
          <c:spPr>
            <a:solidFill>
              <a:schemeClr val="tx1">
                <a:alpha val="75000"/>
              </a:schemeClr>
            </a:solidFill>
            <a:effectLst>
              <a:outerShdw blurRad="38100" dist="38100" algn="ctr" rotWithShape="0">
                <a:srgbClr val="000000">
                  <a:alpha val="10000"/>
                </a:srgbClr>
              </a:outerShdw>
            </a:effectLst>
          </c:spPr>
          <c:cat>
            <c:strRef>
              <c:f>Sheet1!$A$2:$A$13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0</c:v>
                </c:pt>
                <c:pt idx="1">
                  <c:v>6</c:v>
                </c:pt>
                <c:pt idx="2">
                  <c:v>15</c:v>
                </c:pt>
                <c:pt idx="3">
                  <c:v>14</c:v>
                </c:pt>
                <c:pt idx="4">
                  <c:v>24</c:v>
                </c:pt>
                <c:pt idx="5">
                  <c:v>15</c:v>
                </c:pt>
                <c:pt idx="6">
                  <c:v>20</c:v>
                </c:pt>
                <c:pt idx="7">
                  <c:v>11</c:v>
                </c:pt>
                <c:pt idx="8">
                  <c:v>6</c:v>
                </c:pt>
                <c:pt idx="9">
                  <c:v>24</c:v>
                </c:pt>
                <c:pt idx="10">
                  <c:v>15</c:v>
                </c:pt>
                <c:pt idx="11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D5C-409E-9A1C-1E46F5C53B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ype B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effectLst>
              <a:outerShdw blurRad="38100" dist="38100" algn="ctr" rotWithShape="0">
                <a:srgbClr val="000000">
                  <a:alpha val="23000"/>
                </a:srgbClr>
              </a:outerShdw>
            </a:effectLst>
          </c:spPr>
          <c:cat>
            <c:strRef>
              <c:f>Sheet1!$A$2:$A$13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0</c:v>
                </c:pt>
                <c:pt idx="1">
                  <c:v>8</c:v>
                </c:pt>
                <c:pt idx="2">
                  <c:v>6</c:v>
                </c:pt>
                <c:pt idx="3">
                  <c:v>19</c:v>
                </c:pt>
                <c:pt idx="4">
                  <c:v>17</c:v>
                </c:pt>
                <c:pt idx="5">
                  <c:v>17</c:v>
                </c:pt>
                <c:pt idx="6">
                  <c:v>7</c:v>
                </c:pt>
                <c:pt idx="7">
                  <c:v>12</c:v>
                </c:pt>
                <c:pt idx="8">
                  <c:v>7</c:v>
                </c:pt>
                <c:pt idx="9">
                  <c:v>17</c:v>
                </c:pt>
                <c:pt idx="10">
                  <c:v>17</c:v>
                </c:pt>
                <c:pt idx="1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D5C-409E-9A1C-1E46F5C53B9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ype C</c:v>
                </c:pt>
              </c:strCache>
            </c:strRef>
          </c:tx>
          <c:spPr>
            <a:solidFill>
              <a:schemeClr val="tx2">
                <a:alpha val="50000"/>
              </a:schemeClr>
            </a:solidFill>
            <a:ln w="25400">
              <a:noFill/>
            </a:ln>
            <a:effectLst>
              <a:outerShdw blurRad="38100" dist="38100" algn="ctr" rotWithShape="0">
                <a:srgbClr val="000000">
                  <a:alpha val="23000"/>
                </a:srgbClr>
              </a:outerShdw>
            </a:effectLst>
          </c:spPr>
          <c:cat>
            <c:strRef>
              <c:f>Sheet1!$A$2:$A$13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0</c:v>
                </c:pt>
                <c:pt idx="1">
                  <c:v>7</c:v>
                </c:pt>
                <c:pt idx="2">
                  <c:v>18</c:v>
                </c:pt>
                <c:pt idx="3">
                  <c:v>6</c:v>
                </c:pt>
                <c:pt idx="4">
                  <c:v>12</c:v>
                </c:pt>
                <c:pt idx="5">
                  <c:v>9</c:v>
                </c:pt>
                <c:pt idx="6">
                  <c:v>11</c:v>
                </c:pt>
                <c:pt idx="7">
                  <c:v>20</c:v>
                </c:pt>
                <c:pt idx="8">
                  <c:v>18</c:v>
                </c:pt>
                <c:pt idx="9">
                  <c:v>12</c:v>
                </c:pt>
                <c:pt idx="10">
                  <c:v>9</c:v>
                </c:pt>
                <c:pt idx="11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D5C-409E-9A1C-1E46F5C53B9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ype D</c:v>
                </c:pt>
              </c:strCache>
            </c:strRef>
          </c:tx>
          <c:spPr>
            <a:solidFill>
              <a:schemeClr val="bg2">
                <a:alpha val="75000"/>
              </a:schemeClr>
            </a:solidFill>
            <a:ln w="25400">
              <a:noFill/>
            </a:ln>
            <a:effectLst>
              <a:outerShdw blurRad="38100" dist="38100" algn="ctr" rotWithShape="0">
                <a:srgbClr val="000000">
                  <a:alpha val="23000"/>
                </a:srgbClr>
              </a:outerShdw>
            </a:effectLst>
          </c:spPr>
          <c:cat>
            <c:strRef>
              <c:f>Sheet1!$A$2:$A$13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E$2:$E$13</c:f>
              <c:numCache>
                <c:formatCode>General</c:formatCode>
                <c:ptCount val="12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14</c:v>
                </c:pt>
                <c:pt idx="4">
                  <c:v>3</c:v>
                </c:pt>
                <c:pt idx="5">
                  <c:v>5</c:v>
                </c:pt>
                <c:pt idx="6">
                  <c:v>6</c:v>
                </c:pt>
                <c:pt idx="7">
                  <c:v>24</c:v>
                </c:pt>
                <c:pt idx="8">
                  <c:v>11</c:v>
                </c:pt>
                <c:pt idx="9">
                  <c:v>3</c:v>
                </c:pt>
                <c:pt idx="10">
                  <c:v>5</c:v>
                </c:pt>
                <c:pt idx="1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D5C-409E-9A1C-1E46F5C53B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19947192"/>
        <c:axId val="819947976"/>
      </c:areaChart>
      <c:catAx>
        <c:axId val="81994719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819947976"/>
        <c:crosses val="autoZero"/>
        <c:auto val="0"/>
        <c:lblAlgn val="ctr"/>
        <c:lblOffset val="100"/>
        <c:noMultiLvlLbl val="0"/>
      </c:catAx>
      <c:valAx>
        <c:axId val="8199479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819947192"/>
        <c:crosses val="autoZero"/>
        <c:crossBetween val="midCat"/>
      </c:valAx>
    </c:plotArea>
    <c:plotVisOnly val="1"/>
    <c:dispBlanksAs val="gap"/>
    <c:showDLblsOverMax val="0"/>
  </c:chart>
  <c:txPr>
    <a:bodyPr/>
    <a:lstStyle/>
    <a:p>
      <a:pPr>
        <a:defRPr lang="zh-CN" sz="1800" smtId="4294967295"/>
      </a:pPr>
      <a:endParaRPr lang="zh-CN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 dirty="0"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9B84EA-7D68-4D60-9CB1-D50884785D1C}" type="datetimeFigureOut">
              <a:rPr lang="zh-CN" altLang="en-US" smtClean="0">
                <a:latin typeface="微软雅黑" panose="020B0503020204020204" pitchFamily="34" charset="-122"/>
                <a:cs typeface="等线" panose="02010600030101010101" charset="-122"/>
              </a:rPr>
              <a:t>2024/11/7</a:t>
            </a:fld>
            <a:endParaRPr lang="zh-CN" altLang="en-US" dirty="0"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 dirty="0"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4E0FC9-F1F8-4FAE-9988-3BA365CFD46F}" type="slidenum">
              <a:rPr lang="zh-CN" altLang="en-US" smtClean="0">
                <a:latin typeface="微软雅黑" panose="020B0503020204020204" pitchFamily="34" charset="-122"/>
                <a:cs typeface="等线" panose="02010600030101010101" charset="-122"/>
              </a:rPr>
              <a:t>‹#›</a:t>
            </a:fld>
            <a:endParaRPr lang="zh-CN" altLang="en-US" dirty="0"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fld id="{DDAB4B47-3238-4718-85B9-266B242E4A99}" type="datetimeFigureOut">
              <a:rPr lang="zh-CN" altLang="en-US" smtClean="0"/>
              <a:pPr/>
              <a:t>2024/11/7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微软雅黑" panose="020B0503020204020204" pitchFamily="34" charset="-122"/>
                <a:cs typeface="微软雅黑" panose="020B0503020204020204" pitchFamily="34" charset="-122"/>
              </a:defRPr>
            </a:lvl1pPr>
          </a:lstStyle>
          <a:p>
            <a:fld id="{B5B16362-FCA3-40A2-8C23-7C40CFC6C5C2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+mn-ea"/>
        <a:cs typeface="微软雅黑" panose="020B0503020204020204" pitchFamily="34" charset="-122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+mn-ea"/>
        <a:cs typeface="微软雅黑" panose="020B0503020204020204" pitchFamily="34" charset="-122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+mn-ea"/>
        <a:cs typeface="微软雅黑" panose="020B0503020204020204" pitchFamily="34" charset="-122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+mn-ea"/>
        <a:cs typeface="微软雅黑" panose="020B0503020204020204" pitchFamily="34" charset="-122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微软雅黑" panose="020B0503020204020204" pitchFamily="34" charset="-122"/>
        <a:ea typeface="+mn-ea"/>
        <a:cs typeface="微软雅黑" panose="020B0503020204020204" pitchFamily="34" charset="-122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/>
              <a:t>Template from: https://www.freeppt7.com/</a:t>
            </a:r>
            <a:endParaRPr lang="zh-CN" altLang="en-US" dirty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>
              <a:ea typeface="微软雅黑" panose="020B0503020204020204" pitchFamily="34" charset="-122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hangye/" TargetMode="External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图片占位符 7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81050" y="1860550"/>
            <a:ext cx="3498850" cy="3886200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 spd="med"/>
  <p:hf sldNum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-12700"/>
            <a:ext cx="7086600" cy="6883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</a:lstStyle>
          <a:p>
            <a:endParaRPr lang="id-ID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086600" y="-12700"/>
            <a:ext cx="2542993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9641590" y="-12700"/>
            <a:ext cx="2542993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086600" y="2349501"/>
            <a:ext cx="2542993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641590" y="2349501"/>
            <a:ext cx="2542993" cy="229870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086600" y="4711702"/>
            <a:ext cx="2542993" cy="213360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641590" y="4711702"/>
            <a:ext cx="2542993" cy="213360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 spd="med"/>
  <p:hf sldNum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8"/>
          <p:cNvSpPr>
            <a:spLocks noGrp="1"/>
          </p:cNvSpPr>
          <p:nvPr>
            <p:ph type="pic" sz="quarter" idx="10"/>
          </p:nvPr>
        </p:nvSpPr>
        <p:spPr>
          <a:xfrm>
            <a:off x="10512796" y="-844052"/>
            <a:ext cx="2913074" cy="2612986"/>
          </a:xfrm>
          <a:custGeom>
            <a:avLst/>
            <a:gdLst>
              <a:gd name="connsiteX0" fmla="*/ 552184 w 2913074"/>
              <a:gd name="connsiteY0" fmla="*/ 0 h 2612986"/>
              <a:gd name="connsiteX1" fmla="*/ 2913074 w 2913074"/>
              <a:gd name="connsiteY1" fmla="*/ 671451 h 2612986"/>
              <a:gd name="connsiteX2" fmla="*/ 2360890 w 2913074"/>
              <a:gd name="connsiteY2" fmla="*/ 2612986 h 2612986"/>
              <a:gd name="connsiteX3" fmla="*/ 0 w 2913074"/>
              <a:gd name="connsiteY3" fmla="*/ 1941535 h 2612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3074" h="2612986">
                <a:moveTo>
                  <a:pt x="552184" y="0"/>
                </a:moveTo>
                <a:lnTo>
                  <a:pt x="2913074" y="671451"/>
                </a:lnTo>
                <a:lnTo>
                  <a:pt x="2360890" y="2612986"/>
                </a:lnTo>
                <a:lnTo>
                  <a:pt x="0" y="194153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6" name="图片占位符 15"/>
          <p:cNvSpPr>
            <a:spLocks noGrp="1"/>
          </p:cNvSpPr>
          <p:nvPr>
            <p:ph type="pic" sz="quarter" idx="11"/>
          </p:nvPr>
        </p:nvSpPr>
        <p:spPr>
          <a:xfrm>
            <a:off x="7231538" y="492177"/>
            <a:ext cx="2913074" cy="2612986"/>
          </a:xfrm>
          <a:custGeom>
            <a:avLst/>
            <a:gdLst>
              <a:gd name="connsiteX0" fmla="*/ 552184 w 2913074"/>
              <a:gd name="connsiteY0" fmla="*/ 0 h 2612986"/>
              <a:gd name="connsiteX1" fmla="*/ 2913074 w 2913074"/>
              <a:gd name="connsiteY1" fmla="*/ 671451 h 2612986"/>
              <a:gd name="connsiteX2" fmla="*/ 2360890 w 2913074"/>
              <a:gd name="connsiteY2" fmla="*/ 2612986 h 2612986"/>
              <a:gd name="connsiteX3" fmla="*/ 0 w 2913074"/>
              <a:gd name="connsiteY3" fmla="*/ 1941535 h 2612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3074" h="2612986">
                <a:moveTo>
                  <a:pt x="552184" y="0"/>
                </a:moveTo>
                <a:lnTo>
                  <a:pt x="2913074" y="671451"/>
                </a:lnTo>
                <a:lnTo>
                  <a:pt x="2360890" y="2612986"/>
                </a:lnTo>
                <a:lnTo>
                  <a:pt x="0" y="194153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7" name="图片占位符 16"/>
          <p:cNvSpPr>
            <a:spLocks noGrp="1"/>
          </p:cNvSpPr>
          <p:nvPr>
            <p:ph type="pic" sz="quarter" idx="12"/>
          </p:nvPr>
        </p:nvSpPr>
        <p:spPr>
          <a:xfrm>
            <a:off x="9286570" y="3614391"/>
            <a:ext cx="2913074" cy="2612986"/>
          </a:xfrm>
          <a:custGeom>
            <a:avLst/>
            <a:gdLst>
              <a:gd name="connsiteX0" fmla="*/ 552184 w 2913074"/>
              <a:gd name="connsiteY0" fmla="*/ 0 h 2612986"/>
              <a:gd name="connsiteX1" fmla="*/ 2913074 w 2913074"/>
              <a:gd name="connsiteY1" fmla="*/ 671451 h 2612986"/>
              <a:gd name="connsiteX2" fmla="*/ 2360890 w 2913074"/>
              <a:gd name="connsiteY2" fmla="*/ 2612986 h 2612986"/>
              <a:gd name="connsiteX3" fmla="*/ 0 w 2913074"/>
              <a:gd name="connsiteY3" fmla="*/ 1941535 h 2612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3074" h="2612986">
                <a:moveTo>
                  <a:pt x="552184" y="0"/>
                </a:moveTo>
                <a:lnTo>
                  <a:pt x="2913074" y="671451"/>
                </a:lnTo>
                <a:lnTo>
                  <a:pt x="2360890" y="2612986"/>
                </a:lnTo>
                <a:lnTo>
                  <a:pt x="0" y="194153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  <p:sp>
        <p:nvSpPr>
          <p:cNvPr id="15" name="图片占位符 14"/>
          <p:cNvSpPr>
            <a:spLocks noGrp="1"/>
          </p:cNvSpPr>
          <p:nvPr>
            <p:ph type="pic" sz="quarter" idx="13"/>
          </p:nvPr>
        </p:nvSpPr>
        <p:spPr>
          <a:xfrm>
            <a:off x="5992400" y="4946945"/>
            <a:ext cx="2913074" cy="2612986"/>
          </a:xfrm>
          <a:custGeom>
            <a:avLst/>
            <a:gdLst>
              <a:gd name="connsiteX0" fmla="*/ 552184 w 2913074"/>
              <a:gd name="connsiteY0" fmla="*/ 0 h 2612986"/>
              <a:gd name="connsiteX1" fmla="*/ 2913074 w 2913074"/>
              <a:gd name="connsiteY1" fmla="*/ 671451 h 2612986"/>
              <a:gd name="connsiteX2" fmla="*/ 2360890 w 2913074"/>
              <a:gd name="connsiteY2" fmla="*/ 2612986 h 2612986"/>
              <a:gd name="connsiteX3" fmla="*/ 0 w 2913074"/>
              <a:gd name="connsiteY3" fmla="*/ 1941535 h 2612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13074" h="2612986">
                <a:moveTo>
                  <a:pt x="552184" y="0"/>
                </a:moveTo>
                <a:lnTo>
                  <a:pt x="2913074" y="671451"/>
                </a:lnTo>
                <a:lnTo>
                  <a:pt x="2360890" y="2612986"/>
                </a:lnTo>
                <a:lnTo>
                  <a:pt x="0" y="194153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 noChangeAspect="1"/>
          </p:cNvSpPr>
          <p:nvPr>
            <p:ph type="pic" sz="quarter" idx="10"/>
          </p:nvPr>
        </p:nvSpPr>
        <p:spPr>
          <a:xfrm>
            <a:off x="4362865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7" name="Picture Placeholder 17"/>
          <p:cNvSpPr>
            <a:spLocks noGrp="1" noChangeAspect="1"/>
          </p:cNvSpPr>
          <p:nvPr>
            <p:ph type="pic" sz="quarter" idx="11"/>
          </p:nvPr>
        </p:nvSpPr>
        <p:spPr>
          <a:xfrm>
            <a:off x="6563683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8" name="Picture Placeholder 17"/>
          <p:cNvSpPr>
            <a:spLocks noGrp="1" noChangeAspect="1"/>
          </p:cNvSpPr>
          <p:nvPr>
            <p:ph type="pic" sz="quarter" idx="12"/>
          </p:nvPr>
        </p:nvSpPr>
        <p:spPr>
          <a:xfrm>
            <a:off x="8785321" y="1670078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29" name="Picture Placeholder 17"/>
          <p:cNvSpPr>
            <a:spLocks noGrp="1" noChangeAspect="1"/>
          </p:cNvSpPr>
          <p:nvPr>
            <p:ph type="pic" sz="quarter" idx="13"/>
          </p:nvPr>
        </p:nvSpPr>
        <p:spPr>
          <a:xfrm>
            <a:off x="4362865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0" name="Picture Placeholder 17"/>
          <p:cNvSpPr>
            <a:spLocks noGrp="1" noChangeAspect="1"/>
          </p:cNvSpPr>
          <p:nvPr>
            <p:ph type="pic" sz="quarter" idx="14"/>
          </p:nvPr>
        </p:nvSpPr>
        <p:spPr>
          <a:xfrm>
            <a:off x="6563683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1" name="Picture Placeholder 17"/>
          <p:cNvSpPr>
            <a:spLocks noGrp="1" noChangeAspect="1"/>
          </p:cNvSpPr>
          <p:nvPr>
            <p:ph type="pic" sz="quarter" idx="15"/>
          </p:nvPr>
        </p:nvSpPr>
        <p:spPr>
          <a:xfrm>
            <a:off x="8785321" y="3244435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2" name="Picture Placeholder 17"/>
          <p:cNvSpPr>
            <a:spLocks noGrp="1" noChangeAspect="1"/>
          </p:cNvSpPr>
          <p:nvPr>
            <p:ph type="pic" sz="quarter" idx="16"/>
          </p:nvPr>
        </p:nvSpPr>
        <p:spPr>
          <a:xfrm>
            <a:off x="4362865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3" name="Picture Placeholder 17"/>
          <p:cNvSpPr>
            <a:spLocks noGrp="1" noChangeAspect="1"/>
          </p:cNvSpPr>
          <p:nvPr>
            <p:ph type="pic" sz="quarter" idx="17"/>
          </p:nvPr>
        </p:nvSpPr>
        <p:spPr>
          <a:xfrm>
            <a:off x="6563683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  <p:sp>
        <p:nvSpPr>
          <p:cNvPr id="34" name="Picture Placeholder 17"/>
          <p:cNvSpPr>
            <a:spLocks noGrp="1" noChangeAspect="1"/>
          </p:cNvSpPr>
          <p:nvPr>
            <p:ph type="pic" sz="quarter" idx="18"/>
          </p:nvPr>
        </p:nvSpPr>
        <p:spPr>
          <a:xfrm>
            <a:off x="8785321" y="4818352"/>
            <a:ext cx="1036800" cy="1036800"/>
          </a:xfrm>
          <a:prstGeom prst="ellipse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endParaRPr lang="id-ID"/>
          </a:p>
        </p:txBody>
      </p:sp>
    </p:spTree>
  </p:cSld>
  <p:clrMapOvr>
    <a:masterClrMapping/>
  </p:clrMapOvr>
  <p:transition spd="med"/>
  <p:hf sldNum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502194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030514" y="656506"/>
            <a:ext cx="10130972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ctr">
              <a:buNone/>
              <a:defRPr lang="en-US" sz="3600">
                <a:solidFill>
                  <a:schemeClr val="bg1"/>
                </a:solidFill>
                <a:latin typeface="+mj-lt"/>
                <a:cs typeface="微软雅黑" panose="020B0503020204020204" pitchFamily="34" charset="-122"/>
              </a:defRPr>
            </a:lvl1pPr>
          </a:lstStyle>
          <a:p>
            <a:pPr marL="0" lvl="0" algn="ctr"/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ur="125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ur="100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 build="p">
        <p:tmplLst>
          <p:tmpl lvl="1">
            <p:tnLst>
              <p:par>
                <p:cTn presetID="2" presetClass="entr" presetSubtype="1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6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6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sldNum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/>
          <p:cNvSpPr/>
          <p:nvPr userDrawn="1"/>
        </p:nvSpPr>
        <p:spPr>
          <a:xfrm>
            <a:off x="1" y="2"/>
            <a:ext cx="5497745" cy="6857999"/>
          </a:xfrm>
          <a:custGeom>
            <a:avLst/>
            <a:gdLst>
              <a:gd name="connsiteX0" fmla="*/ 0 w 5497745"/>
              <a:gd name="connsiteY0" fmla="*/ 0 h 6857999"/>
              <a:gd name="connsiteX1" fmla="*/ 4724649 w 5497745"/>
              <a:gd name="connsiteY1" fmla="*/ 0 h 6857999"/>
              <a:gd name="connsiteX2" fmla="*/ 4730953 w 5497745"/>
              <a:gd name="connsiteY2" fmla="*/ 75316 h 6857999"/>
              <a:gd name="connsiteX3" fmla="*/ 4819650 w 5497745"/>
              <a:gd name="connsiteY3" fmla="*/ 1657350 h 6857999"/>
              <a:gd name="connsiteX4" fmla="*/ 4972050 w 5497745"/>
              <a:gd name="connsiteY4" fmla="*/ 2952750 h 6857999"/>
              <a:gd name="connsiteX5" fmla="*/ 5486400 w 5497745"/>
              <a:gd name="connsiteY5" fmla="*/ 5657850 h 6857999"/>
              <a:gd name="connsiteX6" fmla="*/ 5220891 w 5497745"/>
              <a:gd name="connsiteY6" fmla="*/ 6754416 h 6857999"/>
              <a:gd name="connsiteX7" fmla="*/ 5168166 w 5497745"/>
              <a:gd name="connsiteY7" fmla="*/ 6857999 h 6857999"/>
              <a:gd name="connsiteX8" fmla="*/ 0 w 5497745"/>
              <a:gd name="connsiteY8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497745" h="6857999">
                <a:moveTo>
                  <a:pt x="0" y="0"/>
                </a:moveTo>
                <a:lnTo>
                  <a:pt x="4724649" y="0"/>
                </a:lnTo>
                <a:lnTo>
                  <a:pt x="4730953" y="75316"/>
                </a:lnTo>
                <a:cubicBezTo>
                  <a:pt x="4764187" y="509389"/>
                  <a:pt x="4783535" y="1234281"/>
                  <a:pt x="4819650" y="1657350"/>
                </a:cubicBezTo>
                <a:cubicBezTo>
                  <a:pt x="4864100" y="2178050"/>
                  <a:pt x="4860925" y="2286000"/>
                  <a:pt x="4972050" y="2952750"/>
                </a:cubicBezTo>
                <a:cubicBezTo>
                  <a:pt x="5083175" y="3619500"/>
                  <a:pt x="5578475" y="4889500"/>
                  <a:pt x="5486400" y="5657850"/>
                </a:cubicBezTo>
                <a:cubicBezTo>
                  <a:pt x="5440363" y="6042025"/>
                  <a:pt x="5375275" y="6422232"/>
                  <a:pt x="5220891" y="6754416"/>
                </a:cubicBezTo>
                <a:lnTo>
                  <a:pt x="5168166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sp>
        <p:nvSpPr>
          <p:cNvPr id="8" name="Freeform: Shape 7"/>
          <p:cNvSpPr/>
          <p:nvPr userDrawn="1"/>
        </p:nvSpPr>
        <p:spPr>
          <a:xfrm>
            <a:off x="0" y="1"/>
            <a:ext cx="5620016" cy="6857999"/>
          </a:xfrm>
          <a:custGeom>
            <a:avLst/>
            <a:gdLst>
              <a:gd name="connsiteX0" fmla="*/ 0 w 5620016"/>
              <a:gd name="connsiteY0" fmla="*/ 0 h 6857999"/>
              <a:gd name="connsiteX1" fmla="*/ 4939983 w 5620016"/>
              <a:gd name="connsiteY1" fmla="*/ 0 h 6857999"/>
              <a:gd name="connsiteX2" fmla="*/ 5038249 w 5620016"/>
              <a:gd name="connsiteY2" fmla="*/ 183833 h 6857999"/>
              <a:gd name="connsiteX3" fmla="*/ 5600700 w 5620016"/>
              <a:gd name="connsiteY3" fmla="*/ 2072640 h 6857999"/>
              <a:gd name="connsiteX4" fmla="*/ 4953000 w 5620016"/>
              <a:gd name="connsiteY4" fmla="*/ 6096000 h 6857999"/>
              <a:gd name="connsiteX5" fmla="*/ 5050036 w 5620016"/>
              <a:gd name="connsiteY5" fmla="*/ 6811983 h 6857999"/>
              <a:gd name="connsiteX6" fmla="*/ 5064293 w 5620016"/>
              <a:gd name="connsiteY6" fmla="*/ 6857999 h 6857999"/>
              <a:gd name="connsiteX7" fmla="*/ 0 w 5620016"/>
              <a:gd name="connsiteY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20016" h="6857999">
                <a:moveTo>
                  <a:pt x="0" y="0"/>
                </a:moveTo>
                <a:lnTo>
                  <a:pt x="4939983" y="0"/>
                </a:lnTo>
                <a:lnTo>
                  <a:pt x="5038249" y="183833"/>
                </a:lnTo>
                <a:cubicBezTo>
                  <a:pt x="5333365" y="771208"/>
                  <a:pt x="5523865" y="1440815"/>
                  <a:pt x="5600700" y="2072640"/>
                </a:cubicBezTo>
                <a:cubicBezTo>
                  <a:pt x="5754370" y="3336290"/>
                  <a:pt x="4940300" y="5063490"/>
                  <a:pt x="4953000" y="6096000"/>
                </a:cubicBezTo>
                <a:cubicBezTo>
                  <a:pt x="4956175" y="6354128"/>
                  <a:pt x="4993482" y="6592729"/>
                  <a:pt x="5050036" y="6811983"/>
                </a:cubicBezTo>
                <a:lnTo>
                  <a:pt x="5064293" y="6857999"/>
                </a:lnTo>
                <a:lnTo>
                  <a:pt x="0" y="6857999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3"/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1088570" y="921658"/>
            <a:ext cx="3701142" cy="3701142"/>
          </a:xfrm>
          <a:custGeom>
            <a:avLst/>
            <a:gdLst>
              <a:gd name="connsiteX0" fmla="*/ 1850571 w 3701142"/>
              <a:gd name="connsiteY0" fmla="*/ 0 h 3701142"/>
              <a:gd name="connsiteX1" fmla="*/ 3701142 w 3701142"/>
              <a:gd name="connsiteY1" fmla="*/ 1850571 h 3701142"/>
              <a:gd name="connsiteX2" fmla="*/ 1850571 w 3701142"/>
              <a:gd name="connsiteY2" fmla="*/ 3701142 h 3701142"/>
              <a:gd name="connsiteX3" fmla="*/ 0 w 3701142"/>
              <a:gd name="connsiteY3" fmla="*/ 1850571 h 3701142"/>
              <a:gd name="connsiteX4" fmla="*/ 1850571 w 3701142"/>
              <a:gd name="connsiteY4" fmla="*/ 0 h 37011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1142" h="3701142">
                <a:moveTo>
                  <a:pt x="1850571" y="0"/>
                </a:moveTo>
                <a:cubicBezTo>
                  <a:pt x="2872613" y="0"/>
                  <a:pt x="3701142" y="828529"/>
                  <a:pt x="3701142" y="1850571"/>
                </a:cubicBezTo>
                <a:cubicBezTo>
                  <a:pt x="3701142" y="2872613"/>
                  <a:pt x="2872613" y="3701142"/>
                  <a:pt x="1850571" y="3701142"/>
                </a:cubicBezTo>
                <a:cubicBezTo>
                  <a:pt x="828529" y="3701142"/>
                  <a:pt x="0" y="2872613"/>
                  <a:pt x="0" y="1850571"/>
                </a:cubicBezTo>
                <a:cubicBezTo>
                  <a:pt x="0" y="828529"/>
                  <a:pt x="828529" y="0"/>
                  <a:pt x="1850571" y="0"/>
                </a:cubicBezTo>
                <a:close/>
              </a:path>
            </a:pathLst>
          </a:custGeom>
        </p:spPr>
        <p:txBody>
          <a:bodyPr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ur="100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ur="125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53" presetClass="entr" presetSubtype="16" dur="75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</p:bldLst>
  </p:timing>
  <p:hf sldNum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1030514" y="656506"/>
            <a:ext cx="10130972" cy="59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 algn="ctr">
              <a:buNone/>
              <a:defRPr lang="en-US" sz="3600">
                <a:solidFill>
                  <a:schemeClr val="bg1"/>
                </a:solidFill>
                <a:latin typeface="+mj-lt"/>
                <a:cs typeface="微软雅黑" panose="020B0503020204020204" pitchFamily="34" charset="-122"/>
              </a:defRPr>
            </a:lvl1pPr>
          </a:lstStyle>
          <a:p>
            <a:pPr marL="0" lvl="0" algn="ctr"/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dur="75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1" dur="1000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" grpId="0" build="p">
        <p:tmplLst>
          <p:tmpl lvl="1">
            <p:tnLst>
              <p:par>
                <p:cTn presetID="2" presetClass="entr" presetSubtype="1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sldNum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8"/>
          <p:cNvSpPr txBox="1"/>
          <p:nvPr/>
        </p:nvSpPr>
        <p:spPr>
          <a:xfrm>
            <a:off x="7509627" y="2215277"/>
            <a:ext cx="540060" cy="118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00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行业</a:t>
            </a:r>
            <a:r>
              <a:rPr lang="en-US" altLang="zh-CN" sz="100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PPT</a:t>
            </a:r>
            <a:r>
              <a:rPr lang="zh-CN" altLang="en-US" sz="100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模板</a:t>
            </a:r>
            <a:r>
              <a:rPr lang="en-US" altLang="zh-CN" sz="100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.com/hangye/</a:t>
            </a:r>
          </a:p>
        </p:txBody>
      </p:sp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5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8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9" name="页脚占位符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10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E9B957CC-A438-4D82-B305-22914934740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84707"/>
          </a:xfrm>
          <a:custGeom>
            <a:avLst/>
            <a:gdLst>
              <a:gd name="connsiteX0" fmla="*/ 0 w 12192000"/>
              <a:gd name="connsiteY0" fmla="*/ 0 h 3484707"/>
              <a:gd name="connsiteX1" fmla="*/ 12192000 w 12192000"/>
              <a:gd name="connsiteY1" fmla="*/ 0 h 3484707"/>
              <a:gd name="connsiteX2" fmla="*/ 12192000 w 12192000"/>
              <a:gd name="connsiteY2" fmla="*/ 3484707 h 3484707"/>
              <a:gd name="connsiteX3" fmla="*/ 12043486 w 12192000"/>
              <a:gd name="connsiteY3" fmla="*/ 3441804 h 3484707"/>
              <a:gd name="connsiteX4" fmla="*/ 8515350 w 12192000"/>
              <a:gd name="connsiteY4" fmla="*/ 2628900 h 3484707"/>
              <a:gd name="connsiteX5" fmla="*/ 4038600 w 12192000"/>
              <a:gd name="connsiteY5" fmla="*/ 2990850 h 3484707"/>
              <a:gd name="connsiteX6" fmla="*/ 249734 w 12192000"/>
              <a:gd name="connsiteY6" fmla="*/ 2066181 h 3484707"/>
              <a:gd name="connsiteX7" fmla="*/ 0 w 12192000"/>
              <a:gd name="connsiteY7" fmla="*/ 1988954 h 348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84706">
                <a:moveTo>
                  <a:pt x="0" y="0"/>
                </a:moveTo>
                <a:lnTo>
                  <a:pt x="12192000" y="0"/>
                </a:lnTo>
                <a:lnTo>
                  <a:pt x="12192000" y="3484707"/>
                </a:lnTo>
                <a:lnTo>
                  <a:pt x="12043486" y="3441804"/>
                </a:lnTo>
                <a:cubicBezTo>
                  <a:pt x="11152758" y="3180792"/>
                  <a:pt x="9668470" y="2708870"/>
                  <a:pt x="8515350" y="2628900"/>
                </a:cubicBezTo>
                <a:cubicBezTo>
                  <a:pt x="7096125" y="2530475"/>
                  <a:pt x="5559425" y="3127375"/>
                  <a:pt x="4038600" y="2990850"/>
                </a:cubicBezTo>
                <a:cubicBezTo>
                  <a:pt x="2897982" y="2888456"/>
                  <a:pt x="1316236" y="2396728"/>
                  <a:pt x="249734" y="2066181"/>
                </a:cubicBezTo>
                <a:lnTo>
                  <a:pt x="0" y="1988954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0340339" y="271273"/>
            <a:ext cx="981625" cy="4804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US" sz="1100" dirty="0">
                <a:solidFill>
                  <a:schemeClr val="bg1"/>
                </a:solidFill>
                <a:cs typeface="等线" panose="02010600030101010101" charset="-122"/>
              </a:rPr>
              <a:t>Stay in touch!</a:t>
            </a:r>
          </a:p>
        </p:txBody>
      </p:sp>
      <p:sp>
        <p:nvSpPr>
          <p:cNvPr id="17" name="Freeform 22"/>
          <p:cNvSpPr>
            <a:spLocks noEditPoints="1"/>
          </p:cNvSpPr>
          <p:nvPr userDrawn="1"/>
        </p:nvSpPr>
        <p:spPr bwMode="auto">
          <a:xfrm>
            <a:off x="11339437" y="372278"/>
            <a:ext cx="132666" cy="106206"/>
          </a:xfrm>
          <a:custGeom>
            <a:avLst/>
            <a:gdLst>
              <a:gd name="T0" fmla="*/ 68 w 200"/>
              <a:gd name="T1" fmla="*/ 160 h 160"/>
              <a:gd name="T2" fmla="*/ 2 w 200"/>
              <a:gd name="T3" fmla="*/ 123 h 160"/>
              <a:gd name="T4" fmla="*/ 17 w 200"/>
              <a:gd name="T5" fmla="*/ 118 h 160"/>
              <a:gd name="T6" fmla="*/ 24 w 200"/>
              <a:gd name="T7" fmla="*/ 100 h 160"/>
              <a:gd name="T8" fmla="*/ 16 w 200"/>
              <a:gd name="T9" fmla="*/ 82 h 160"/>
              <a:gd name="T10" fmla="*/ 12 w 200"/>
              <a:gd name="T11" fmla="*/ 49 h 160"/>
              <a:gd name="T12" fmla="*/ 10 w 200"/>
              <a:gd name="T13" fmla="*/ 31 h 160"/>
              <a:gd name="T14" fmla="*/ 27 w 200"/>
              <a:gd name="T15" fmla="*/ 2 h 160"/>
              <a:gd name="T16" fmla="*/ 44 w 200"/>
              <a:gd name="T17" fmla="*/ 17 h 160"/>
              <a:gd name="T18" fmla="*/ 97 w 200"/>
              <a:gd name="T19" fmla="*/ 14 h 160"/>
              <a:gd name="T20" fmla="*/ 145 w 200"/>
              <a:gd name="T21" fmla="*/ 2 h 160"/>
              <a:gd name="T22" fmla="*/ 172 w 200"/>
              <a:gd name="T23" fmla="*/ 6 h 160"/>
              <a:gd name="T24" fmla="*/ 183 w 200"/>
              <a:gd name="T25" fmla="*/ 2 h 160"/>
              <a:gd name="T26" fmla="*/ 190 w 200"/>
              <a:gd name="T27" fmla="*/ 17 h 160"/>
              <a:gd name="T28" fmla="*/ 196 w 200"/>
              <a:gd name="T29" fmla="*/ 18 h 160"/>
              <a:gd name="T30" fmla="*/ 197 w 200"/>
              <a:gd name="T31" fmla="*/ 19 h 160"/>
              <a:gd name="T32" fmla="*/ 197 w 200"/>
              <a:gd name="T33" fmla="*/ 20 h 160"/>
              <a:gd name="T34" fmla="*/ 200 w 200"/>
              <a:gd name="T35" fmla="*/ 23 h 160"/>
              <a:gd name="T36" fmla="*/ 190 w 200"/>
              <a:gd name="T37" fmla="*/ 42 h 160"/>
              <a:gd name="T38" fmla="*/ 179 w 200"/>
              <a:gd name="T39" fmla="*/ 54 h 160"/>
              <a:gd name="T40" fmla="*/ 105 w 200"/>
              <a:gd name="T41" fmla="*/ 154 h 160"/>
              <a:gd name="T42" fmla="*/ 10 w 200"/>
              <a:gd name="T43" fmla="*/ 126 h 160"/>
              <a:gd name="T44" fmla="*/ 68 w 200"/>
              <a:gd name="T45" fmla="*/ 152 h 160"/>
              <a:gd name="T46" fmla="*/ 103 w 200"/>
              <a:gd name="T47" fmla="*/ 147 h 160"/>
              <a:gd name="T48" fmla="*/ 171 w 200"/>
              <a:gd name="T49" fmla="*/ 55 h 160"/>
              <a:gd name="T50" fmla="*/ 184 w 200"/>
              <a:gd name="T51" fmla="*/ 37 h 160"/>
              <a:gd name="T52" fmla="*/ 190 w 200"/>
              <a:gd name="T53" fmla="*/ 25 h 160"/>
              <a:gd name="T54" fmla="*/ 184 w 200"/>
              <a:gd name="T55" fmla="*/ 26 h 160"/>
              <a:gd name="T56" fmla="*/ 179 w 200"/>
              <a:gd name="T57" fmla="*/ 21 h 160"/>
              <a:gd name="T58" fmla="*/ 178 w 200"/>
              <a:gd name="T59" fmla="*/ 12 h 160"/>
              <a:gd name="T60" fmla="*/ 159 w 200"/>
              <a:gd name="T61" fmla="*/ 18 h 160"/>
              <a:gd name="T62" fmla="*/ 156 w 200"/>
              <a:gd name="T63" fmla="*/ 17 h 160"/>
              <a:gd name="T64" fmla="*/ 131 w 200"/>
              <a:gd name="T65" fmla="*/ 8 h 160"/>
              <a:gd name="T66" fmla="*/ 94 w 200"/>
              <a:gd name="T67" fmla="*/ 44 h 160"/>
              <a:gd name="T68" fmla="*/ 89 w 200"/>
              <a:gd name="T69" fmla="*/ 48 h 160"/>
              <a:gd name="T70" fmla="*/ 35 w 200"/>
              <a:gd name="T71" fmla="*/ 18 h 160"/>
              <a:gd name="T72" fmla="*/ 18 w 200"/>
              <a:gd name="T73" fmla="*/ 31 h 160"/>
              <a:gd name="T74" fmla="*/ 21 w 200"/>
              <a:gd name="T75" fmla="*/ 49 h 160"/>
              <a:gd name="T76" fmla="*/ 18 w 200"/>
              <a:gd name="T77" fmla="*/ 55 h 160"/>
              <a:gd name="T78" fmla="*/ 23 w 200"/>
              <a:gd name="T79" fmla="*/ 78 h 160"/>
              <a:gd name="T80" fmla="*/ 30 w 200"/>
              <a:gd name="T81" fmla="*/ 87 h 160"/>
              <a:gd name="T82" fmla="*/ 31 w 200"/>
              <a:gd name="T83" fmla="*/ 97 h 160"/>
              <a:gd name="T84" fmla="*/ 60 w 200"/>
              <a:gd name="T85" fmla="*/ 119 h 160"/>
              <a:gd name="T86" fmla="*/ 23 w 200"/>
              <a:gd name="T87" fmla="*/ 126 h 160"/>
              <a:gd name="T88" fmla="*/ 11 w 200"/>
              <a:gd name="T89" fmla="*/ 126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00" h="160">
                <a:moveTo>
                  <a:pt x="68" y="160"/>
                </a:moveTo>
                <a:cubicBezTo>
                  <a:pt x="68" y="160"/>
                  <a:pt x="68" y="160"/>
                  <a:pt x="68" y="160"/>
                </a:cubicBezTo>
                <a:cubicBezTo>
                  <a:pt x="50" y="160"/>
                  <a:pt x="33" y="156"/>
                  <a:pt x="20" y="148"/>
                </a:cubicBezTo>
                <a:cubicBezTo>
                  <a:pt x="19" y="147"/>
                  <a:pt x="0" y="132"/>
                  <a:pt x="2" y="123"/>
                </a:cubicBezTo>
                <a:cubicBezTo>
                  <a:pt x="3" y="121"/>
                  <a:pt x="5" y="118"/>
                  <a:pt x="11" y="118"/>
                </a:cubicBezTo>
                <a:cubicBezTo>
                  <a:pt x="13" y="118"/>
                  <a:pt x="15" y="118"/>
                  <a:pt x="17" y="118"/>
                </a:cubicBezTo>
                <a:cubicBezTo>
                  <a:pt x="24" y="118"/>
                  <a:pt x="31" y="118"/>
                  <a:pt x="37" y="117"/>
                </a:cubicBezTo>
                <a:cubicBezTo>
                  <a:pt x="31" y="112"/>
                  <a:pt x="26" y="107"/>
                  <a:pt x="24" y="100"/>
                </a:cubicBezTo>
                <a:cubicBezTo>
                  <a:pt x="23" y="98"/>
                  <a:pt x="21" y="94"/>
                  <a:pt x="21" y="90"/>
                </a:cubicBezTo>
                <a:cubicBezTo>
                  <a:pt x="19" y="88"/>
                  <a:pt x="17" y="85"/>
                  <a:pt x="16" y="82"/>
                </a:cubicBezTo>
                <a:cubicBezTo>
                  <a:pt x="11" y="75"/>
                  <a:pt x="9" y="66"/>
                  <a:pt x="10" y="56"/>
                </a:cubicBezTo>
                <a:cubicBezTo>
                  <a:pt x="10" y="53"/>
                  <a:pt x="11" y="50"/>
                  <a:pt x="12" y="49"/>
                </a:cubicBezTo>
                <a:cubicBezTo>
                  <a:pt x="12" y="48"/>
                  <a:pt x="11" y="46"/>
                  <a:pt x="11" y="45"/>
                </a:cubicBezTo>
                <a:cubicBezTo>
                  <a:pt x="10" y="41"/>
                  <a:pt x="10" y="36"/>
                  <a:pt x="10" y="31"/>
                </a:cubicBezTo>
                <a:cubicBezTo>
                  <a:pt x="11" y="20"/>
                  <a:pt x="15" y="12"/>
                  <a:pt x="22" y="4"/>
                </a:cubicBezTo>
                <a:cubicBezTo>
                  <a:pt x="24" y="3"/>
                  <a:pt x="25" y="2"/>
                  <a:pt x="27" y="2"/>
                </a:cubicBezTo>
                <a:cubicBezTo>
                  <a:pt x="32" y="2"/>
                  <a:pt x="37" y="7"/>
                  <a:pt x="42" y="14"/>
                </a:cubicBezTo>
                <a:cubicBezTo>
                  <a:pt x="43" y="15"/>
                  <a:pt x="44" y="16"/>
                  <a:pt x="44" y="17"/>
                </a:cubicBezTo>
                <a:cubicBezTo>
                  <a:pt x="55" y="27"/>
                  <a:pt x="68" y="34"/>
                  <a:pt x="86" y="39"/>
                </a:cubicBezTo>
                <a:cubicBezTo>
                  <a:pt x="87" y="30"/>
                  <a:pt x="91" y="21"/>
                  <a:pt x="97" y="14"/>
                </a:cubicBezTo>
                <a:cubicBezTo>
                  <a:pt x="106" y="5"/>
                  <a:pt x="118" y="0"/>
                  <a:pt x="131" y="0"/>
                </a:cubicBezTo>
                <a:cubicBezTo>
                  <a:pt x="136" y="0"/>
                  <a:pt x="140" y="1"/>
                  <a:pt x="145" y="2"/>
                </a:cubicBezTo>
                <a:cubicBezTo>
                  <a:pt x="150" y="4"/>
                  <a:pt x="155" y="7"/>
                  <a:pt x="160" y="10"/>
                </a:cubicBezTo>
                <a:cubicBezTo>
                  <a:pt x="164" y="10"/>
                  <a:pt x="168" y="8"/>
                  <a:pt x="172" y="6"/>
                </a:cubicBezTo>
                <a:cubicBezTo>
                  <a:pt x="172" y="6"/>
                  <a:pt x="173" y="6"/>
                  <a:pt x="174" y="5"/>
                </a:cubicBezTo>
                <a:cubicBezTo>
                  <a:pt x="176" y="4"/>
                  <a:pt x="180" y="2"/>
                  <a:pt x="183" y="2"/>
                </a:cubicBezTo>
                <a:cubicBezTo>
                  <a:pt x="187" y="2"/>
                  <a:pt x="189" y="3"/>
                  <a:pt x="190" y="6"/>
                </a:cubicBezTo>
                <a:cubicBezTo>
                  <a:pt x="191" y="9"/>
                  <a:pt x="191" y="13"/>
                  <a:pt x="190" y="17"/>
                </a:cubicBezTo>
                <a:cubicBezTo>
                  <a:pt x="192" y="17"/>
                  <a:pt x="194" y="17"/>
                  <a:pt x="195" y="18"/>
                </a:cubicBezTo>
                <a:cubicBezTo>
                  <a:pt x="196" y="18"/>
                  <a:pt x="196" y="18"/>
                  <a:pt x="196" y="18"/>
                </a:cubicBezTo>
                <a:cubicBezTo>
                  <a:pt x="197" y="19"/>
                  <a:pt x="197" y="19"/>
                  <a:pt x="197" y="19"/>
                </a:cubicBezTo>
                <a:cubicBezTo>
                  <a:pt x="197" y="19"/>
                  <a:pt x="197" y="19"/>
                  <a:pt x="197" y="19"/>
                </a:cubicBezTo>
                <a:cubicBezTo>
                  <a:pt x="197" y="19"/>
                  <a:pt x="197" y="19"/>
                  <a:pt x="197" y="20"/>
                </a:cubicBezTo>
                <a:cubicBezTo>
                  <a:pt x="197" y="20"/>
                  <a:pt x="197" y="20"/>
                  <a:pt x="197" y="20"/>
                </a:cubicBezTo>
                <a:cubicBezTo>
                  <a:pt x="197" y="20"/>
                  <a:pt x="197" y="20"/>
                  <a:pt x="197" y="20"/>
                </a:cubicBezTo>
                <a:cubicBezTo>
                  <a:pt x="200" y="23"/>
                  <a:pt x="200" y="23"/>
                  <a:pt x="200" y="23"/>
                </a:cubicBezTo>
                <a:cubicBezTo>
                  <a:pt x="199" y="24"/>
                  <a:pt x="199" y="24"/>
                  <a:pt x="199" y="24"/>
                </a:cubicBezTo>
                <a:cubicBezTo>
                  <a:pt x="199" y="29"/>
                  <a:pt x="194" y="36"/>
                  <a:pt x="190" y="42"/>
                </a:cubicBezTo>
                <a:cubicBezTo>
                  <a:pt x="188" y="44"/>
                  <a:pt x="186" y="46"/>
                  <a:pt x="184" y="47"/>
                </a:cubicBezTo>
                <a:cubicBezTo>
                  <a:pt x="181" y="50"/>
                  <a:pt x="179" y="52"/>
                  <a:pt x="179" y="54"/>
                </a:cubicBezTo>
                <a:cubicBezTo>
                  <a:pt x="181" y="70"/>
                  <a:pt x="174" y="87"/>
                  <a:pt x="169" y="99"/>
                </a:cubicBezTo>
                <a:cubicBezTo>
                  <a:pt x="157" y="125"/>
                  <a:pt x="134" y="145"/>
                  <a:pt x="105" y="154"/>
                </a:cubicBezTo>
                <a:cubicBezTo>
                  <a:pt x="93" y="158"/>
                  <a:pt x="81" y="160"/>
                  <a:pt x="68" y="160"/>
                </a:cubicBezTo>
                <a:close/>
                <a:moveTo>
                  <a:pt x="10" y="126"/>
                </a:moveTo>
                <a:cubicBezTo>
                  <a:pt x="12" y="130"/>
                  <a:pt x="21" y="139"/>
                  <a:pt x="24" y="141"/>
                </a:cubicBezTo>
                <a:cubicBezTo>
                  <a:pt x="36" y="148"/>
                  <a:pt x="52" y="152"/>
                  <a:pt x="68" y="152"/>
                </a:cubicBezTo>
                <a:cubicBezTo>
                  <a:pt x="68" y="152"/>
                  <a:pt x="68" y="152"/>
                  <a:pt x="68" y="152"/>
                </a:cubicBezTo>
                <a:cubicBezTo>
                  <a:pt x="80" y="152"/>
                  <a:pt x="92" y="150"/>
                  <a:pt x="103" y="147"/>
                </a:cubicBezTo>
                <a:cubicBezTo>
                  <a:pt x="129" y="138"/>
                  <a:pt x="150" y="120"/>
                  <a:pt x="161" y="96"/>
                </a:cubicBezTo>
                <a:cubicBezTo>
                  <a:pt x="166" y="85"/>
                  <a:pt x="172" y="69"/>
                  <a:pt x="171" y="55"/>
                </a:cubicBezTo>
                <a:cubicBezTo>
                  <a:pt x="171" y="49"/>
                  <a:pt x="175" y="45"/>
                  <a:pt x="179" y="41"/>
                </a:cubicBezTo>
                <a:cubicBezTo>
                  <a:pt x="181" y="40"/>
                  <a:pt x="183" y="39"/>
                  <a:pt x="184" y="37"/>
                </a:cubicBezTo>
                <a:cubicBezTo>
                  <a:pt x="190" y="29"/>
                  <a:pt x="191" y="25"/>
                  <a:pt x="191" y="25"/>
                </a:cubicBezTo>
                <a:cubicBezTo>
                  <a:pt x="190" y="25"/>
                  <a:pt x="190" y="25"/>
                  <a:pt x="190" y="25"/>
                </a:cubicBezTo>
                <a:cubicBezTo>
                  <a:pt x="189" y="25"/>
                  <a:pt x="187" y="25"/>
                  <a:pt x="186" y="25"/>
                </a:cubicBezTo>
                <a:cubicBezTo>
                  <a:pt x="185" y="26"/>
                  <a:pt x="185" y="26"/>
                  <a:pt x="184" y="26"/>
                </a:cubicBezTo>
                <a:cubicBezTo>
                  <a:pt x="176" y="28"/>
                  <a:pt x="176" y="28"/>
                  <a:pt x="176" y="28"/>
                </a:cubicBezTo>
                <a:cubicBezTo>
                  <a:pt x="179" y="21"/>
                  <a:pt x="179" y="21"/>
                  <a:pt x="179" y="21"/>
                </a:cubicBezTo>
                <a:cubicBezTo>
                  <a:pt x="183" y="13"/>
                  <a:pt x="183" y="11"/>
                  <a:pt x="183" y="10"/>
                </a:cubicBezTo>
                <a:cubicBezTo>
                  <a:pt x="181" y="10"/>
                  <a:pt x="179" y="11"/>
                  <a:pt x="178" y="12"/>
                </a:cubicBezTo>
                <a:cubicBezTo>
                  <a:pt x="177" y="13"/>
                  <a:pt x="176" y="13"/>
                  <a:pt x="175" y="13"/>
                </a:cubicBezTo>
                <a:cubicBezTo>
                  <a:pt x="170" y="16"/>
                  <a:pt x="164" y="18"/>
                  <a:pt x="159" y="18"/>
                </a:cubicBezTo>
                <a:cubicBezTo>
                  <a:pt x="157" y="19"/>
                  <a:pt x="157" y="19"/>
                  <a:pt x="157" y="19"/>
                </a:cubicBezTo>
                <a:cubicBezTo>
                  <a:pt x="156" y="17"/>
                  <a:pt x="156" y="17"/>
                  <a:pt x="156" y="17"/>
                </a:cubicBezTo>
                <a:cubicBezTo>
                  <a:pt x="152" y="14"/>
                  <a:pt x="147" y="11"/>
                  <a:pt x="142" y="10"/>
                </a:cubicBezTo>
                <a:cubicBezTo>
                  <a:pt x="139" y="8"/>
                  <a:pt x="135" y="8"/>
                  <a:pt x="131" y="8"/>
                </a:cubicBezTo>
                <a:cubicBezTo>
                  <a:pt x="121" y="8"/>
                  <a:pt x="110" y="12"/>
                  <a:pt x="103" y="19"/>
                </a:cubicBezTo>
                <a:cubicBezTo>
                  <a:pt x="97" y="26"/>
                  <a:pt x="94" y="35"/>
                  <a:pt x="94" y="44"/>
                </a:cubicBezTo>
                <a:cubicBezTo>
                  <a:pt x="94" y="49"/>
                  <a:pt x="94" y="49"/>
                  <a:pt x="94" y="49"/>
                </a:cubicBezTo>
                <a:cubicBezTo>
                  <a:pt x="89" y="48"/>
                  <a:pt x="89" y="48"/>
                  <a:pt x="89" y="48"/>
                </a:cubicBezTo>
                <a:cubicBezTo>
                  <a:pt x="67" y="42"/>
                  <a:pt x="51" y="34"/>
                  <a:pt x="39" y="22"/>
                </a:cubicBezTo>
                <a:cubicBezTo>
                  <a:pt x="38" y="22"/>
                  <a:pt x="37" y="20"/>
                  <a:pt x="35" y="18"/>
                </a:cubicBezTo>
                <a:cubicBezTo>
                  <a:pt x="34" y="16"/>
                  <a:pt x="30" y="11"/>
                  <a:pt x="28" y="10"/>
                </a:cubicBezTo>
                <a:cubicBezTo>
                  <a:pt x="21" y="16"/>
                  <a:pt x="19" y="22"/>
                  <a:pt x="18" y="31"/>
                </a:cubicBezTo>
                <a:cubicBezTo>
                  <a:pt x="18" y="36"/>
                  <a:pt x="18" y="40"/>
                  <a:pt x="19" y="44"/>
                </a:cubicBezTo>
                <a:cubicBezTo>
                  <a:pt x="19" y="45"/>
                  <a:pt x="20" y="47"/>
                  <a:pt x="21" y="49"/>
                </a:cubicBezTo>
                <a:cubicBezTo>
                  <a:pt x="23" y="54"/>
                  <a:pt x="23" y="54"/>
                  <a:pt x="23" y="54"/>
                </a:cubicBezTo>
                <a:cubicBezTo>
                  <a:pt x="18" y="55"/>
                  <a:pt x="18" y="55"/>
                  <a:pt x="18" y="55"/>
                </a:cubicBezTo>
                <a:cubicBezTo>
                  <a:pt x="18" y="55"/>
                  <a:pt x="18" y="55"/>
                  <a:pt x="18" y="56"/>
                </a:cubicBezTo>
                <a:cubicBezTo>
                  <a:pt x="17" y="65"/>
                  <a:pt x="19" y="72"/>
                  <a:pt x="23" y="78"/>
                </a:cubicBezTo>
                <a:cubicBezTo>
                  <a:pt x="24" y="81"/>
                  <a:pt x="26" y="83"/>
                  <a:pt x="28" y="85"/>
                </a:cubicBezTo>
                <a:cubicBezTo>
                  <a:pt x="30" y="87"/>
                  <a:pt x="30" y="87"/>
                  <a:pt x="30" y="87"/>
                </a:cubicBezTo>
                <a:cubicBezTo>
                  <a:pt x="30" y="89"/>
                  <a:pt x="30" y="89"/>
                  <a:pt x="30" y="89"/>
                </a:cubicBezTo>
                <a:cubicBezTo>
                  <a:pt x="29" y="91"/>
                  <a:pt x="30" y="94"/>
                  <a:pt x="31" y="97"/>
                </a:cubicBezTo>
                <a:cubicBezTo>
                  <a:pt x="34" y="105"/>
                  <a:pt x="41" y="111"/>
                  <a:pt x="50" y="115"/>
                </a:cubicBezTo>
                <a:cubicBezTo>
                  <a:pt x="60" y="119"/>
                  <a:pt x="60" y="119"/>
                  <a:pt x="60" y="119"/>
                </a:cubicBezTo>
                <a:cubicBezTo>
                  <a:pt x="50" y="122"/>
                  <a:pt x="50" y="122"/>
                  <a:pt x="50" y="122"/>
                </a:cubicBezTo>
                <a:cubicBezTo>
                  <a:pt x="40" y="125"/>
                  <a:pt x="32" y="126"/>
                  <a:pt x="23" y="126"/>
                </a:cubicBezTo>
                <a:cubicBezTo>
                  <a:pt x="21" y="126"/>
                  <a:pt x="19" y="126"/>
                  <a:pt x="17" y="126"/>
                </a:cubicBezTo>
                <a:cubicBezTo>
                  <a:pt x="15" y="126"/>
                  <a:pt x="13" y="126"/>
                  <a:pt x="11" y="126"/>
                </a:cubicBezTo>
                <a:cubicBezTo>
                  <a:pt x="11" y="126"/>
                  <a:pt x="10" y="126"/>
                  <a:pt x="10" y="12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8" name="Freeform 35"/>
          <p:cNvSpPr>
            <a:spLocks noEditPoints="1"/>
          </p:cNvSpPr>
          <p:nvPr userDrawn="1"/>
        </p:nvSpPr>
        <p:spPr bwMode="auto">
          <a:xfrm>
            <a:off x="11564697" y="367023"/>
            <a:ext cx="58358" cy="116716"/>
          </a:xfrm>
          <a:custGeom>
            <a:avLst/>
            <a:gdLst>
              <a:gd name="T0" fmla="*/ 60 w 88"/>
              <a:gd name="T1" fmla="*/ 176 h 176"/>
              <a:gd name="T2" fmla="*/ 16 w 88"/>
              <a:gd name="T3" fmla="*/ 176 h 176"/>
              <a:gd name="T4" fmla="*/ 16 w 88"/>
              <a:gd name="T5" fmla="*/ 92 h 176"/>
              <a:gd name="T6" fmla="*/ 0 w 88"/>
              <a:gd name="T7" fmla="*/ 92 h 176"/>
              <a:gd name="T8" fmla="*/ 0 w 88"/>
              <a:gd name="T9" fmla="*/ 56 h 176"/>
              <a:gd name="T10" fmla="*/ 16 w 88"/>
              <a:gd name="T11" fmla="*/ 56 h 176"/>
              <a:gd name="T12" fmla="*/ 17 w 88"/>
              <a:gd name="T13" fmla="*/ 39 h 176"/>
              <a:gd name="T14" fmla="*/ 57 w 88"/>
              <a:gd name="T15" fmla="*/ 0 h 176"/>
              <a:gd name="T16" fmla="*/ 88 w 88"/>
              <a:gd name="T17" fmla="*/ 0 h 176"/>
              <a:gd name="T18" fmla="*/ 88 w 88"/>
              <a:gd name="T19" fmla="*/ 37 h 176"/>
              <a:gd name="T20" fmla="*/ 64 w 88"/>
              <a:gd name="T21" fmla="*/ 37 h 176"/>
              <a:gd name="T22" fmla="*/ 60 w 88"/>
              <a:gd name="T23" fmla="*/ 40 h 176"/>
              <a:gd name="T24" fmla="*/ 60 w 88"/>
              <a:gd name="T25" fmla="*/ 56 h 176"/>
              <a:gd name="T26" fmla="*/ 84 w 88"/>
              <a:gd name="T27" fmla="*/ 56 h 176"/>
              <a:gd name="T28" fmla="*/ 85 w 88"/>
              <a:gd name="T29" fmla="*/ 92 h 176"/>
              <a:gd name="T30" fmla="*/ 60 w 88"/>
              <a:gd name="T31" fmla="*/ 92 h 176"/>
              <a:gd name="T32" fmla="*/ 60 w 88"/>
              <a:gd name="T33" fmla="*/ 176 h 176"/>
              <a:gd name="T34" fmla="*/ 24 w 88"/>
              <a:gd name="T35" fmla="*/ 168 h 176"/>
              <a:gd name="T36" fmla="*/ 52 w 88"/>
              <a:gd name="T37" fmla="*/ 168 h 176"/>
              <a:gd name="T38" fmla="*/ 53 w 88"/>
              <a:gd name="T39" fmla="*/ 84 h 176"/>
              <a:gd name="T40" fmla="*/ 77 w 88"/>
              <a:gd name="T41" fmla="*/ 84 h 176"/>
              <a:gd name="T42" fmla="*/ 76 w 88"/>
              <a:gd name="T43" fmla="*/ 64 h 176"/>
              <a:gd name="T44" fmla="*/ 52 w 88"/>
              <a:gd name="T45" fmla="*/ 64 h 176"/>
              <a:gd name="T46" fmla="*/ 53 w 88"/>
              <a:gd name="T47" fmla="*/ 41 h 176"/>
              <a:gd name="T48" fmla="*/ 64 w 88"/>
              <a:gd name="T49" fmla="*/ 29 h 176"/>
              <a:gd name="T50" fmla="*/ 79 w 88"/>
              <a:gd name="T51" fmla="*/ 29 h 176"/>
              <a:gd name="T52" fmla="*/ 79 w 88"/>
              <a:gd name="T53" fmla="*/ 8 h 176"/>
              <a:gd name="T54" fmla="*/ 57 w 88"/>
              <a:gd name="T55" fmla="*/ 8 h 176"/>
              <a:gd name="T56" fmla="*/ 25 w 88"/>
              <a:gd name="T57" fmla="*/ 39 h 176"/>
              <a:gd name="T58" fmla="*/ 24 w 88"/>
              <a:gd name="T59" fmla="*/ 64 h 176"/>
              <a:gd name="T60" fmla="*/ 8 w 88"/>
              <a:gd name="T61" fmla="*/ 64 h 176"/>
              <a:gd name="T62" fmla="*/ 8 w 88"/>
              <a:gd name="T63" fmla="*/ 84 h 176"/>
              <a:gd name="T64" fmla="*/ 24 w 88"/>
              <a:gd name="T65" fmla="*/ 84 h 176"/>
              <a:gd name="T66" fmla="*/ 24 w 88"/>
              <a:gd name="T67" fmla="*/ 168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88" h="176">
                <a:moveTo>
                  <a:pt x="60" y="176"/>
                </a:moveTo>
                <a:cubicBezTo>
                  <a:pt x="16" y="176"/>
                  <a:pt x="16" y="176"/>
                  <a:pt x="16" y="176"/>
                </a:cubicBezTo>
                <a:cubicBezTo>
                  <a:pt x="16" y="92"/>
                  <a:pt x="16" y="92"/>
                  <a:pt x="16" y="92"/>
                </a:cubicBezTo>
                <a:cubicBezTo>
                  <a:pt x="0" y="92"/>
                  <a:pt x="0" y="92"/>
                  <a:pt x="0" y="92"/>
                </a:cubicBezTo>
                <a:cubicBezTo>
                  <a:pt x="0" y="56"/>
                  <a:pt x="0" y="56"/>
                  <a:pt x="0" y="56"/>
                </a:cubicBezTo>
                <a:cubicBezTo>
                  <a:pt x="16" y="56"/>
                  <a:pt x="16" y="56"/>
                  <a:pt x="16" y="56"/>
                </a:cubicBezTo>
                <a:cubicBezTo>
                  <a:pt x="17" y="39"/>
                  <a:pt x="17" y="39"/>
                  <a:pt x="17" y="39"/>
                </a:cubicBezTo>
                <a:cubicBezTo>
                  <a:pt x="17" y="20"/>
                  <a:pt x="28" y="0"/>
                  <a:pt x="57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88" y="37"/>
                  <a:pt x="88" y="37"/>
                  <a:pt x="88" y="37"/>
                </a:cubicBezTo>
                <a:cubicBezTo>
                  <a:pt x="64" y="37"/>
                  <a:pt x="64" y="37"/>
                  <a:pt x="64" y="37"/>
                </a:cubicBezTo>
                <a:cubicBezTo>
                  <a:pt x="62" y="37"/>
                  <a:pt x="60" y="37"/>
                  <a:pt x="60" y="40"/>
                </a:cubicBezTo>
                <a:cubicBezTo>
                  <a:pt x="60" y="56"/>
                  <a:pt x="60" y="56"/>
                  <a:pt x="60" y="56"/>
                </a:cubicBezTo>
                <a:cubicBezTo>
                  <a:pt x="84" y="56"/>
                  <a:pt x="84" y="56"/>
                  <a:pt x="84" y="56"/>
                </a:cubicBezTo>
                <a:cubicBezTo>
                  <a:pt x="85" y="92"/>
                  <a:pt x="85" y="92"/>
                  <a:pt x="85" y="92"/>
                </a:cubicBezTo>
                <a:cubicBezTo>
                  <a:pt x="60" y="92"/>
                  <a:pt x="60" y="92"/>
                  <a:pt x="60" y="92"/>
                </a:cubicBezTo>
                <a:lnTo>
                  <a:pt x="60" y="176"/>
                </a:lnTo>
                <a:close/>
                <a:moveTo>
                  <a:pt x="24" y="168"/>
                </a:moveTo>
                <a:cubicBezTo>
                  <a:pt x="52" y="168"/>
                  <a:pt x="52" y="168"/>
                  <a:pt x="52" y="168"/>
                </a:cubicBezTo>
                <a:cubicBezTo>
                  <a:pt x="53" y="84"/>
                  <a:pt x="53" y="84"/>
                  <a:pt x="53" y="84"/>
                </a:cubicBezTo>
                <a:cubicBezTo>
                  <a:pt x="77" y="84"/>
                  <a:pt x="77" y="84"/>
                  <a:pt x="77" y="84"/>
                </a:cubicBezTo>
                <a:cubicBezTo>
                  <a:pt x="76" y="64"/>
                  <a:pt x="76" y="64"/>
                  <a:pt x="76" y="64"/>
                </a:cubicBezTo>
                <a:cubicBezTo>
                  <a:pt x="52" y="64"/>
                  <a:pt x="52" y="64"/>
                  <a:pt x="52" y="64"/>
                </a:cubicBezTo>
                <a:cubicBezTo>
                  <a:pt x="53" y="41"/>
                  <a:pt x="53" y="41"/>
                  <a:pt x="53" y="41"/>
                </a:cubicBezTo>
                <a:cubicBezTo>
                  <a:pt x="53" y="33"/>
                  <a:pt x="59" y="29"/>
                  <a:pt x="64" y="29"/>
                </a:cubicBezTo>
                <a:cubicBezTo>
                  <a:pt x="79" y="29"/>
                  <a:pt x="79" y="29"/>
                  <a:pt x="79" y="29"/>
                </a:cubicBezTo>
                <a:cubicBezTo>
                  <a:pt x="79" y="8"/>
                  <a:pt x="79" y="8"/>
                  <a:pt x="79" y="8"/>
                </a:cubicBezTo>
                <a:cubicBezTo>
                  <a:pt x="57" y="8"/>
                  <a:pt x="57" y="8"/>
                  <a:pt x="57" y="8"/>
                </a:cubicBezTo>
                <a:cubicBezTo>
                  <a:pt x="28" y="8"/>
                  <a:pt x="25" y="32"/>
                  <a:pt x="25" y="39"/>
                </a:cubicBezTo>
                <a:cubicBezTo>
                  <a:pt x="24" y="64"/>
                  <a:pt x="24" y="64"/>
                  <a:pt x="24" y="64"/>
                </a:cubicBezTo>
                <a:cubicBezTo>
                  <a:pt x="8" y="64"/>
                  <a:pt x="8" y="64"/>
                  <a:pt x="8" y="64"/>
                </a:cubicBezTo>
                <a:cubicBezTo>
                  <a:pt x="8" y="84"/>
                  <a:pt x="8" y="84"/>
                  <a:pt x="8" y="84"/>
                </a:cubicBezTo>
                <a:cubicBezTo>
                  <a:pt x="24" y="84"/>
                  <a:pt x="24" y="84"/>
                  <a:pt x="24" y="84"/>
                </a:cubicBezTo>
                <a:lnTo>
                  <a:pt x="24" y="16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9" name="Freeform 55"/>
          <p:cNvSpPr>
            <a:spLocks noEditPoints="1"/>
          </p:cNvSpPr>
          <p:nvPr userDrawn="1"/>
        </p:nvSpPr>
        <p:spPr bwMode="auto">
          <a:xfrm>
            <a:off x="11703340" y="367021"/>
            <a:ext cx="113778" cy="116718"/>
          </a:xfrm>
          <a:custGeom>
            <a:avLst/>
            <a:gdLst>
              <a:gd name="T0" fmla="*/ 116 w 148"/>
              <a:gd name="T1" fmla="*/ 152 h 152"/>
              <a:gd name="T2" fmla="*/ 112 w 148"/>
              <a:gd name="T3" fmla="*/ 93 h 152"/>
              <a:gd name="T4" fmla="*/ 84 w 148"/>
              <a:gd name="T5" fmla="*/ 86 h 152"/>
              <a:gd name="T6" fmla="*/ 84 w 148"/>
              <a:gd name="T7" fmla="*/ 93 h 152"/>
              <a:gd name="T8" fmla="*/ 79 w 148"/>
              <a:gd name="T9" fmla="*/ 152 h 152"/>
              <a:gd name="T10" fmla="*/ 49 w 148"/>
              <a:gd name="T11" fmla="*/ 151 h 152"/>
              <a:gd name="T12" fmla="*/ 48 w 148"/>
              <a:gd name="T13" fmla="*/ 78 h 152"/>
              <a:gd name="T14" fmla="*/ 48 w 148"/>
              <a:gd name="T15" fmla="*/ 50 h 152"/>
              <a:gd name="T16" fmla="*/ 75 w 148"/>
              <a:gd name="T17" fmla="*/ 49 h 152"/>
              <a:gd name="T18" fmla="*/ 79 w 148"/>
              <a:gd name="T19" fmla="*/ 56 h 152"/>
              <a:gd name="T20" fmla="*/ 148 w 148"/>
              <a:gd name="T21" fmla="*/ 89 h 152"/>
              <a:gd name="T22" fmla="*/ 144 w 148"/>
              <a:gd name="T23" fmla="*/ 152 h 152"/>
              <a:gd name="T24" fmla="*/ 140 w 148"/>
              <a:gd name="T25" fmla="*/ 144 h 152"/>
              <a:gd name="T26" fmla="*/ 108 w 148"/>
              <a:gd name="T27" fmla="*/ 54 h 152"/>
              <a:gd name="T28" fmla="*/ 76 w 148"/>
              <a:gd name="T29" fmla="*/ 69 h 152"/>
              <a:gd name="T30" fmla="*/ 71 w 148"/>
              <a:gd name="T31" fmla="*/ 65 h 152"/>
              <a:gd name="T32" fmla="*/ 56 w 148"/>
              <a:gd name="T33" fmla="*/ 57 h 152"/>
              <a:gd name="T34" fmla="*/ 56 w 148"/>
              <a:gd name="T35" fmla="*/ 84 h 152"/>
              <a:gd name="T36" fmla="*/ 75 w 148"/>
              <a:gd name="T37" fmla="*/ 144 h 152"/>
              <a:gd name="T38" fmla="*/ 75 w 148"/>
              <a:gd name="T39" fmla="*/ 91 h 152"/>
              <a:gd name="T40" fmla="*/ 97 w 148"/>
              <a:gd name="T41" fmla="*/ 70 h 152"/>
              <a:gd name="T42" fmla="*/ 120 w 148"/>
              <a:gd name="T43" fmla="*/ 144 h 152"/>
              <a:gd name="T44" fmla="*/ 4 w 148"/>
              <a:gd name="T45" fmla="*/ 152 h 152"/>
              <a:gd name="T46" fmla="*/ 0 w 148"/>
              <a:gd name="T47" fmla="*/ 48 h 152"/>
              <a:gd name="T48" fmla="*/ 31 w 148"/>
              <a:gd name="T49" fmla="*/ 44 h 152"/>
              <a:gd name="T50" fmla="*/ 36 w 148"/>
              <a:gd name="T51" fmla="*/ 148 h 152"/>
              <a:gd name="T52" fmla="*/ 32 w 148"/>
              <a:gd name="T53" fmla="*/ 152 h 152"/>
              <a:gd name="T54" fmla="*/ 28 w 148"/>
              <a:gd name="T55" fmla="*/ 144 h 152"/>
              <a:gd name="T56" fmla="*/ 8 w 148"/>
              <a:gd name="T57" fmla="*/ 52 h 152"/>
              <a:gd name="T58" fmla="*/ 17 w 148"/>
              <a:gd name="T59" fmla="*/ 36 h 152"/>
              <a:gd name="T60" fmla="*/ 18 w 148"/>
              <a:gd name="T61" fmla="*/ 0 h 152"/>
              <a:gd name="T62" fmla="*/ 17 w 148"/>
              <a:gd name="T63" fmla="*/ 36 h 152"/>
              <a:gd name="T64" fmla="*/ 7 w 148"/>
              <a:gd name="T65" fmla="*/ 18 h 152"/>
              <a:gd name="T66" fmla="*/ 28 w 148"/>
              <a:gd name="T67" fmla="*/ 18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48" h="152">
                <a:moveTo>
                  <a:pt x="144" y="152"/>
                </a:moveTo>
                <a:cubicBezTo>
                  <a:pt x="116" y="152"/>
                  <a:pt x="116" y="152"/>
                  <a:pt x="116" y="152"/>
                </a:cubicBezTo>
                <a:cubicBezTo>
                  <a:pt x="113" y="152"/>
                  <a:pt x="112" y="150"/>
                  <a:pt x="112" y="148"/>
                </a:cubicBezTo>
                <a:cubicBezTo>
                  <a:pt x="112" y="93"/>
                  <a:pt x="112" y="93"/>
                  <a:pt x="112" y="93"/>
                </a:cubicBezTo>
                <a:cubicBezTo>
                  <a:pt x="112" y="83"/>
                  <a:pt x="106" y="77"/>
                  <a:pt x="97" y="77"/>
                </a:cubicBezTo>
                <a:cubicBezTo>
                  <a:pt x="91" y="77"/>
                  <a:pt x="85" y="82"/>
                  <a:pt x="84" y="86"/>
                </a:cubicBezTo>
                <a:cubicBezTo>
                  <a:pt x="83" y="87"/>
                  <a:pt x="83" y="89"/>
                  <a:pt x="83" y="90"/>
                </a:cubicBezTo>
                <a:cubicBezTo>
                  <a:pt x="83" y="91"/>
                  <a:pt x="84" y="92"/>
                  <a:pt x="84" y="93"/>
                </a:cubicBezTo>
                <a:cubicBezTo>
                  <a:pt x="84" y="148"/>
                  <a:pt x="84" y="148"/>
                  <a:pt x="84" y="148"/>
                </a:cubicBezTo>
                <a:cubicBezTo>
                  <a:pt x="84" y="150"/>
                  <a:pt x="82" y="152"/>
                  <a:pt x="79" y="152"/>
                </a:cubicBezTo>
                <a:cubicBezTo>
                  <a:pt x="51" y="152"/>
                  <a:pt x="51" y="152"/>
                  <a:pt x="51" y="152"/>
                </a:cubicBezTo>
                <a:cubicBezTo>
                  <a:pt x="50" y="152"/>
                  <a:pt x="49" y="152"/>
                  <a:pt x="49" y="151"/>
                </a:cubicBezTo>
                <a:cubicBezTo>
                  <a:pt x="48" y="150"/>
                  <a:pt x="47" y="149"/>
                  <a:pt x="47" y="148"/>
                </a:cubicBezTo>
                <a:cubicBezTo>
                  <a:pt x="48" y="78"/>
                  <a:pt x="48" y="78"/>
                  <a:pt x="48" y="78"/>
                </a:cubicBezTo>
                <a:cubicBezTo>
                  <a:pt x="48" y="69"/>
                  <a:pt x="48" y="60"/>
                  <a:pt x="47" y="53"/>
                </a:cubicBezTo>
                <a:cubicBezTo>
                  <a:pt x="47" y="52"/>
                  <a:pt x="48" y="51"/>
                  <a:pt x="48" y="50"/>
                </a:cubicBezTo>
                <a:cubicBezTo>
                  <a:pt x="49" y="50"/>
                  <a:pt x="50" y="49"/>
                  <a:pt x="51" y="49"/>
                </a:cubicBezTo>
                <a:cubicBezTo>
                  <a:pt x="75" y="49"/>
                  <a:pt x="75" y="49"/>
                  <a:pt x="75" y="49"/>
                </a:cubicBezTo>
                <a:cubicBezTo>
                  <a:pt x="78" y="49"/>
                  <a:pt x="79" y="51"/>
                  <a:pt x="79" y="53"/>
                </a:cubicBezTo>
                <a:cubicBezTo>
                  <a:pt x="79" y="56"/>
                  <a:pt x="79" y="56"/>
                  <a:pt x="79" y="56"/>
                </a:cubicBezTo>
                <a:cubicBezTo>
                  <a:pt x="86" y="51"/>
                  <a:pt x="95" y="46"/>
                  <a:pt x="108" y="46"/>
                </a:cubicBezTo>
                <a:cubicBezTo>
                  <a:pt x="133" y="46"/>
                  <a:pt x="148" y="62"/>
                  <a:pt x="148" y="89"/>
                </a:cubicBezTo>
                <a:cubicBezTo>
                  <a:pt x="148" y="148"/>
                  <a:pt x="148" y="148"/>
                  <a:pt x="148" y="148"/>
                </a:cubicBezTo>
                <a:cubicBezTo>
                  <a:pt x="148" y="150"/>
                  <a:pt x="146" y="152"/>
                  <a:pt x="144" y="152"/>
                </a:cubicBezTo>
                <a:close/>
                <a:moveTo>
                  <a:pt x="120" y="144"/>
                </a:moveTo>
                <a:cubicBezTo>
                  <a:pt x="140" y="144"/>
                  <a:pt x="140" y="144"/>
                  <a:pt x="140" y="144"/>
                </a:cubicBezTo>
                <a:cubicBezTo>
                  <a:pt x="140" y="89"/>
                  <a:pt x="140" y="89"/>
                  <a:pt x="140" y="89"/>
                </a:cubicBezTo>
                <a:cubicBezTo>
                  <a:pt x="140" y="58"/>
                  <a:pt x="120" y="54"/>
                  <a:pt x="108" y="54"/>
                </a:cubicBezTo>
                <a:cubicBezTo>
                  <a:pt x="93" y="54"/>
                  <a:pt x="83" y="62"/>
                  <a:pt x="79" y="67"/>
                </a:cubicBezTo>
                <a:cubicBezTo>
                  <a:pt x="79" y="68"/>
                  <a:pt x="77" y="69"/>
                  <a:pt x="76" y="69"/>
                </a:cubicBezTo>
                <a:cubicBezTo>
                  <a:pt x="75" y="69"/>
                  <a:pt x="75" y="69"/>
                  <a:pt x="75" y="69"/>
                </a:cubicBezTo>
                <a:cubicBezTo>
                  <a:pt x="73" y="69"/>
                  <a:pt x="71" y="67"/>
                  <a:pt x="71" y="65"/>
                </a:cubicBezTo>
                <a:cubicBezTo>
                  <a:pt x="71" y="57"/>
                  <a:pt x="71" y="57"/>
                  <a:pt x="71" y="57"/>
                </a:cubicBezTo>
                <a:cubicBezTo>
                  <a:pt x="56" y="57"/>
                  <a:pt x="56" y="57"/>
                  <a:pt x="56" y="57"/>
                </a:cubicBezTo>
                <a:cubicBezTo>
                  <a:pt x="56" y="63"/>
                  <a:pt x="56" y="71"/>
                  <a:pt x="56" y="78"/>
                </a:cubicBezTo>
                <a:cubicBezTo>
                  <a:pt x="56" y="84"/>
                  <a:pt x="56" y="84"/>
                  <a:pt x="56" y="84"/>
                </a:cubicBezTo>
                <a:cubicBezTo>
                  <a:pt x="55" y="144"/>
                  <a:pt x="55" y="144"/>
                  <a:pt x="55" y="144"/>
                </a:cubicBezTo>
                <a:cubicBezTo>
                  <a:pt x="75" y="144"/>
                  <a:pt x="75" y="144"/>
                  <a:pt x="75" y="144"/>
                </a:cubicBezTo>
                <a:cubicBezTo>
                  <a:pt x="75" y="93"/>
                  <a:pt x="75" y="93"/>
                  <a:pt x="75" y="93"/>
                </a:cubicBezTo>
                <a:cubicBezTo>
                  <a:pt x="75" y="92"/>
                  <a:pt x="75" y="91"/>
                  <a:pt x="75" y="91"/>
                </a:cubicBezTo>
                <a:cubicBezTo>
                  <a:pt x="75" y="88"/>
                  <a:pt x="75" y="85"/>
                  <a:pt x="76" y="83"/>
                </a:cubicBezTo>
                <a:cubicBezTo>
                  <a:pt x="79" y="76"/>
                  <a:pt x="87" y="70"/>
                  <a:pt x="97" y="70"/>
                </a:cubicBezTo>
                <a:cubicBezTo>
                  <a:pt x="111" y="70"/>
                  <a:pt x="120" y="79"/>
                  <a:pt x="120" y="93"/>
                </a:cubicBezTo>
                <a:lnTo>
                  <a:pt x="120" y="144"/>
                </a:lnTo>
                <a:close/>
                <a:moveTo>
                  <a:pt x="32" y="152"/>
                </a:moveTo>
                <a:cubicBezTo>
                  <a:pt x="4" y="152"/>
                  <a:pt x="4" y="152"/>
                  <a:pt x="4" y="152"/>
                </a:cubicBezTo>
                <a:cubicBezTo>
                  <a:pt x="1" y="152"/>
                  <a:pt x="0" y="150"/>
                  <a:pt x="0" y="148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46"/>
                  <a:pt x="1" y="44"/>
                  <a:pt x="4" y="44"/>
                </a:cubicBezTo>
                <a:cubicBezTo>
                  <a:pt x="31" y="44"/>
                  <a:pt x="31" y="44"/>
                  <a:pt x="31" y="44"/>
                </a:cubicBezTo>
                <a:cubicBezTo>
                  <a:pt x="34" y="44"/>
                  <a:pt x="35" y="46"/>
                  <a:pt x="35" y="48"/>
                </a:cubicBezTo>
                <a:cubicBezTo>
                  <a:pt x="36" y="148"/>
                  <a:pt x="36" y="148"/>
                  <a:pt x="36" y="148"/>
                </a:cubicBezTo>
                <a:cubicBezTo>
                  <a:pt x="36" y="149"/>
                  <a:pt x="35" y="150"/>
                  <a:pt x="34" y="151"/>
                </a:cubicBezTo>
                <a:cubicBezTo>
                  <a:pt x="34" y="152"/>
                  <a:pt x="33" y="152"/>
                  <a:pt x="32" y="152"/>
                </a:cubicBezTo>
                <a:close/>
                <a:moveTo>
                  <a:pt x="8" y="144"/>
                </a:moveTo>
                <a:cubicBezTo>
                  <a:pt x="28" y="144"/>
                  <a:pt x="28" y="144"/>
                  <a:pt x="28" y="144"/>
                </a:cubicBezTo>
                <a:cubicBezTo>
                  <a:pt x="28" y="52"/>
                  <a:pt x="28" y="52"/>
                  <a:pt x="28" y="52"/>
                </a:cubicBezTo>
                <a:cubicBezTo>
                  <a:pt x="8" y="52"/>
                  <a:pt x="8" y="52"/>
                  <a:pt x="8" y="52"/>
                </a:cubicBezTo>
                <a:lnTo>
                  <a:pt x="8" y="144"/>
                </a:lnTo>
                <a:close/>
                <a:moveTo>
                  <a:pt x="17" y="36"/>
                </a:moveTo>
                <a:cubicBezTo>
                  <a:pt x="7" y="36"/>
                  <a:pt x="0" y="28"/>
                  <a:pt x="0" y="18"/>
                </a:cubicBezTo>
                <a:cubicBezTo>
                  <a:pt x="0" y="7"/>
                  <a:pt x="7" y="0"/>
                  <a:pt x="18" y="0"/>
                </a:cubicBezTo>
                <a:cubicBezTo>
                  <a:pt x="28" y="0"/>
                  <a:pt x="35" y="7"/>
                  <a:pt x="36" y="18"/>
                </a:cubicBezTo>
                <a:cubicBezTo>
                  <a:pt x="36" y="28"/>
                  <a:pt x="28" y="36"/>
                  <a:pt x="17" y="36"/>
                </a:cubicBezTo>
                <a:close/>
                <a:moveTo>
                  <a:pt x="18" y="8"/>
                </a:moveTo>
                <a:cubicBezTo>
                  <a:pt x="11" y="8"/>
                  <a:pt x="7" y="12"/>
                  <a:pt x="7" y="18"/>
                </a:cubicBezTo>
                <a:cubicBezTo>
                  <a:pt x="7" y="24"/>
                  <a:pt x="11" y="28"/>
                  <a:pt x="17" y="28"/>
                </a:cubicBezTo>
                <a:cubicBezTo>
                  <a:pt x="24" y="28"/>
                  <a:pt x="28" y="24"/>
                  <a:pt x="28" y="18"/>
                </a:cubicBezTo>
                <a:cubicBezTo>
                  <a:pt x="28" y="12"/>
                  <a:pt x="24" y="8"/>
                  <a:pt x="18" y="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chemeClr val="bg1"/>
              </a:solidFill>
              <a:cs typeface="等线" panose="02010600030101010101" charset="-122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ur="1000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  <p:hf sldNum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图片占位符 8"/>
          <p:cNvSpPr>
            <a:spLocks noGrp="1"/>
          </p:cNvSpPr>
          <p:nvPr>
            <p:ph type="pic" sz="quarter" idx="10"/>
          </p:nvPr>
        </p:nvSpPr>
        <p:spPr>
          <a:xfrm>
            <a:off x="874712" y="2054261"/>
            <a:ext cx="4881318" cy="2164999"/>
          </a:xfrm>
          <a:custGeom>
            <a:avLst/>
            <a:gdLst>
              <a:gd name="connsiteX0" fmla="*/ 208446 w 4881318"/>
              <a:gd name="connsiteY0" fmla="*/ 0 h 2164999"/>
              <a:gd name="connsiteX1" fmla="*/ 4672872 w 4881318"/>
              <a:gd name="connsiteY1" fmla="*/ 0 h 2164999"/>
              <a:gd name="connsiteX2" fmla="*/ 4881318 w 4881318"/>
              <a:gd name="connsiteY2" fmla="*/ 208446 h 2164999"/>
              <a:gd name="connsiteX3" fmla="*/ 4881318 w 4881318"/>
              <a:gd name="connsiteY3" fmla="*/ 1956553 h 2164999"/>
              <a:gd name="connsiteX4" fmla="*/ 4672872 w 4881318"/>
              <a:gd name="connsiteY4" fmla="*/ 2164999 h 2164999"/>
              <a:gd name="connsiteX5" fmla="*/ 208446 w 4881318"/>
              <a:gd name="connsiteY5" fmla="*/ 2164999 h 2164999"/>
              <a:gd name="connsiteX6" fmla="*/ 0 w 4881318"/>
              <a:gd name="connsiteY6" fmla="*/ 1956553 h 2164999"/>
              <a:gd name="connsiteX7" fmla="*/ 0 w 4881318"/>
              <a:gd name="connsiteY7" fmla="*/ 208446 h 2164999"/>
              <a:gd name="connsiteX8" fmla="*/ 208446 w 4881318"/>
              <a:gd name="connsiteY8" fmla="*/ 0 h 2164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81318" h="2164999">
                <a:moveTo>
                  <a:pt x="208446" y="0"/>
                </a:moveTo>
                <a:lnTo>
                  <a:pt x="4672872" y="0"/>
                </a:lnTo>
                <a:cubicBezTo>
                  <a:pt x="4787994" y="0"/>
                  <a:pt x="4881318" y="93324"/>
                  <a:pt x="4881318" y="208446"/>
                </a:cubicBezTo>
                <a:lnTo>
                  <a:pt x="4881318" y="1956553"/>
                </a:lnTo>
                <a:cubicBezTo>
                  <a:pt x="4881318" y="2071675"/>
                  <a:pt x="4787994" y="2164999"/>
                  <a:pt x="4672872" y="2164999"/>
                </a:cubicBezTo>
                <a:lnTo>
                  <a:pt x="208446" y="2164999"/>
                </a:lnTo>
                <a:cubicBezTo>
                  <a:pt x="93324" y="2164999"/>
                  <a:pt x="0" y="2071675"/>
                  <a:pt x="0" y="1956553"/>
                </a:cubicBezTo>
                <a:lnTo>
                  <a:pt x="0" y="208446"/>
                </a:lnTo>
                <a:cubicBezTo>
                  <a:pt x="0" y="93324"/>
                  <a:pt x="93324" y="0"/>
                  <a:pt x="208446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zh-CN" altLang="en-US"/>
          </a:p>
        </p:txBody>
      </p:sp>
    </p:spTree>
  </p:cSld>
  <p:clrMapOvr>
    <a:masterClrMapping/>
  </p:clrMapOvr>
  <p:transition/>
  <p:hf sldNum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11ECF-D4C8-74D4-A731-3B62D45008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9624D-FE2D-4597-B311-55080AF42397}" type="datetimeFigureOut">
              <a:rPr lang="en-US" smtClean="0"/>
              <a:t>11/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5B175-83FF-DAAA-E479-2028076C07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6CACBA-1D1C-50B8-579A-DFC0D210C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EED9A-F093-4465-B20F-8EFB89AAAD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120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微软雅黑" panose="020B0503020204020204" pitchFamily="34" charset="-122"/>
              </a:defRPr>
            </a:lvl1pPr>
          </a:lstStyle>
          <a:p>
            <a:fld id="{12AABF24-A466-4C1F-B278-8576255D98E5}" type="datetimeFigureOut">
              <a:rPr lang="zh-CN" altLang="en-US" smtClean="0"/>
              <a:pPr/>
              <a:t>2024/11/7</a:t>
            </a:fld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微软雅黑" panose="020B0503020204020204" pitchFamily="34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微软雅黑" panose="020B0503020204020204" pitchFamily="34" charset="-122"/>
              </a:defRPr>
            </a:lvl1pPr>
          </a:lstStyle>
          <a:p>
            <a:fld id="{5338B9F5-2E2E-4B3E-8718-A4D8ABB799B1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Ovr>
    <a:masterClrMapping/>
  </p:clrMapOvr>
  <p:transition/>
  <p:hf sldNum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Me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/>
          <p:cNvSpPr>
            <a:spLocks noGrp="1" noChangeAspect="1"/>
          </p:cNvSpPr>
          <p:nvPr>
            <p:ph type="pic" sz="quarter" idx="12"/>
          </p:nvPr>
        </p:nvSpPr>
        <p:spPr>
          <a:xfrm>
            <a:off x="135467" y="125791"/>
            <a:ext cx="3406019" cy="2099733"/>
          </a:xfrm>
          <a:custGeom>
            <a:avLst/>
            <a:gdLst>
              <a:gd name="connsiteX0" fmla="*/ 0 w 5109029"/>
              <a:gd name="connsiteY0" fmla="*/ 0 h 3149600"/>
              <a:gd name="connsiteX1" fmla="*/ 5109029 w 5109029"/>
              <a:gd name="connsiteY1" fmla="*/ 0 h 3149600"/>
              <a:gd name="connsiteX2" fmla="*/ 5109029 w 5109029"/>
              <a:gd name="connsiteY2" fmla="*/ 3149600 h 3149600"/>
              <a:gd name="connsiteX3" fmla="*/ 0 w 5109029"/>
              <a:gd name="connsiteY3" fmla="*/ 3149600 h 314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9029" h="3149600">
                <a:moveTo>
                  <a:pt x="0" y="0"/>
                </a:moveTo>
                <a:lnTo>
                  <a:pt x="5109029" y="0"/>
                </a:lnTo>
                <a:lnTo>
                  <a:pt x="5109029" y="3149600"/>
                </a:lnTo>
                <a:lnTo>
                  <a:pt x="0" y="3149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0">
            <a:noFill/>
          </a:ln>
          <a:effectLst/>
          <a:scene3d>
            <a:camera prst="orthographicFront">
              <a:rot lat="0" lon="0" rev="0"/>
            </a:camera>
            <a:lightRig rig="soft" dir="t"/>
          </a:scene3d>
        </p:spPr>
        <p:txBody>
          <a:bodyPr wrap="square" tIns="365760">
            <a:noAutofit/>
          </a:bodyPr>
          <a:lstStyle>
            <a:lvl1pPr marL="0" indent="0" algn="ctr">
              <a:buNone/>
              <a:defRPr sz="1600"/>
            </a:lvl1pPr>
          </a:lstStyle>
          <a:p>
            <a:endParaRPr lang="ko-KR" altLang="en-US"/>
          </a:p>
        </p:txBody>
      </p:sp>
      <p:sp>
        <p:nvSpPr>
          <p:cNvPr id="23" name="Picture Placeholder 22"/>
          <p:cNvSpPr>
            <a:spLocks noGrp="1" noChangeAspect="1"/>
          </p:cNvSpPr>
          <p:nvPr>
            <p:ph type="pic" sz="quarter" idx="13"/>
          </p:nvPr>
        </p:nvSpPr>
        <p:spPr>
          <a:xfrm>
            <a:off x="135467" y="2356153"/>
            <a:ext cx="3406019" cy="2099733"/>
          </a:xfrm>
          <a:custGeom>
            <a:avLst/>
            <a:gdLst>
              <a:gd name="connsiteX0" fmla="*/ 0 w 5109029"/>
              <a:gd name="connsiteY0" fmla="*/ 0 h 3149600"/>
              <a:gd name="connsiteX1" fmla="*/ 5109029 w 5109029"/>
              <a:gd name="connsiteY1" fmla="*/ 0 h 3149600"/>
              <a:gd name="connsiteX2" fmla="*/ 5109029 w 5109029"/>
              <a:gd name="connsiteY2" fmla="*/ 3149600 h 3149600"/>
              <a:gd name="connsiteX3" fmla="*/ 0 w 5109029"/>
              <a:gd name="connsiteY3" fmla="*/ 3149600 h 314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9029" h="3149600">
                <a:moveTo>
                  <a:pt x="0" y="0"/>
                </a:moveTo>
                <a:lnTo>
                  <a:pt x="5109029" y="0"/>
                </a:lnTo>
                <a:lnTo>
                  <a:pt x="5109029" y="3149600"/>
                </a:lnTo>
                <a:lnTo>
                  <a:pt x="0" y="3149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0">
            <a:noFill/>
          </a:ln>
          <a:effectLst/>
          <a:scene3d>
            <a:camera prst="orthographicFront">
              <a:rot lat="0" lon="0" rev="0"/>
            </a:camera>
            <a:lightRig rig="soft" dir="t"/>
          </a:scene3d>
        </p:spPr>
        <p:txBody>
          <a:bodyPr wrap="square" tIns="365760">
            <a:noAutofit/>
          </a:bodyPr>
          <a:lstStyle>
            <a:lvl1pPr marL="0" indent="0" algn="ctr">
              <a:buNone/>
              <a:defRPr sz="1600"/>
            </a:lvl1pPr>
          </a:lstStyle>
          <a:p>
            <a:endParaRPr lang="ko-KR" altLang="en-US"/>
          </a:p>
        </p:txBody>
      </p:sp>
      <p:sp>
        <p:nvSpPr>
          <p:cNvPr id="25" name="Picture Placeholder 24"/>
          <p:cNvSpPr>
            <a:spLocks noGrp="1" noChangeAspect="1"/>
          </p:cNvSpPr>
          <p:nvPr>
            <p:ph type="pic" sz="quarter" idx="15"/>
          </p:nvPr>
        </p:nvSpPr>
        <p:spPr>
          <a:xfrm>
            <a:off x="3662439" y="125791"/>
            <a:ext cx="3406019" cy="2099733"/>
          </a:xfrm>
          <a:custGeom>
            <a:avLst/>
            <a:gdLst>
              <a:gd name="connsiteX0" fmla="*/ 0 w 5109029"/>
              <a:gd name="connsiteY0" fmla="*/ 0 h 3149600"/>
              <a:gd name="connsiteX1" fmla="*/ 5109029 w 5109029"/>
              <a:gd name="connsiteY1" fmla="*/ 0 h 3149600"/>
              <a:gd name="connsiteX2" fmla="*/ 5109029 w 5109029"/>
              <a:gd name="connsiteY2" fmla="*/ 3149600 h 3149600"/>
              <a:gd name="connsiteX3" fmla="*/ 0 w 5109029"/>
              <a:gd name="connsiteY3" fmla="*/ 3149600 h 314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9029" h="3149600">
                <a:moveTo>
                  <a:pt x="0" y="0"/>
                </a:moveTo>
                <a:lnTo>
                  <a:pt x="5109029" y="0"/>
                </a:lnTo>
                <a:lnTo>
                  <a:pt x="5109029" y="3149600"/>
                </a:lnTo>
                <a:lnTo>
                  <a:pt x="0" y="3149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0">
            <a:noFill/>
          </a:ln>
          <a:effectLst/>
          <a:scene3d>
            <a:camera prst="orthographicFront">
              <a:rot lat="0" lon="0" rev="0"/>
            </a:camera>
            <a:lightRig rig="soft" dir="t"/>
          </a:scene3d>
        </p:spPr>
        <p:txBody>
          <a:bodyPr wrap="square" tIns="365760">
            <a:noAutofit/>
          </a:bodyPr>
          <a:lstStyle>
            <a:lvl1pPr marL="0" indent="0" algn="ctr">
              <a:buNone/>
              <a:defRPr sz="1600"/>
            </a:lvl1pPr>
          </a:lstStyle>
          <a:p>
            <a:endParaRPr lang="ko-KR" altLang="en-US"/>
          </a:p>
        </p:txBody>
      </p:sp>
      <p:sp>
        <p:nvSpPr>
          <p:cNvPr id="26" name="Picture Placeholder 25"/>
          <p:cNvSpPr>
            <a:spLocks noGrp="1" noChangeAspect="1"/>
          </p:cNvSpPr>
          <p:nvPr>
            <p:ph type="pic" sz="quarter" idx="16"/>
          </p:nvPr>
        </p:nvSpPr>
        <p:spPr>
          <a:xfrm>
            <a:off x="3662438" y="2356153"/>
            <a:ext cx="3406019" cy="2099733"/>
          </a:xfrm>
          <a:custGeom>
            <a:avLst/>
            <a:gdLst>
              <a:gd name="connsiteX0" fmla="*/ 0 w 5109029"/>
              <a:gd name="connsiteY0" fmla="*/ 0 h 3149600"/>
              <a:gd name="connsiteX1" fmla="*/ 5109029 w 5109029"/>
              <a:gd name="connsiteY1" fmla="*/ 0 h 3149600"/>
              <a:gd name="connsiteX2" fmla="*/ 5109029 w 5109029"/>
              <a:gd name="connsiteY2" fmla="*/ 3149600 h 3149600"/>
              <a:gd name="connsiteX3" fmla="*/ 0 w 5109029"/>
              <a:gd name="connsiteY3" fmla="*/ 3149600 h 314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9029" h="3149600">
                <a:moveTo>
                  <a:pt x="0" y="0"/>
                </a:moveTo>
                <a:lnTo>
                  <a:pt x="5109029" y="0"/>
                </a:lnTo>
                <a:lnTo>
                  <a:pt x="5109029" y="3149600"/>
                </a:lnTo>
                <a:lnTo>
                  <a:pt x="0" y="3149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0">
            <a:noFill/>
          </a:ln>
          <a:effectLst/>
          <a:scene3d>
            <a:camera prst="orthographicFront">
              <a:rot lat="0" lon="0" rev="0"/>
            </a:camera>
            <a:lightRig rig="soft" dir="t"/>
          </a:scene3d>
        </p:spPr>
        <p:txBody>
          <a:bodyPr wrap="square" tIns="365760">
            <a:noAutofit/>
          </a:bodyPr>
          <a:lstStyle>
            <a:lvl1pPr marL="0" indent="0" algn="ctr">
              <a:buNone/>
              <a:defRPr sz="1600"/>
            </a:lvl1pPr>
          </a:lstStyle>
          <a:p>
            <a:endParaRPr lang="ko-KR" altLang="en-US"/>
          </a:p>
        </p:txBody>
      </p:sp>
      <p:sp>
        <p:nvSpPr>
          <p:cNvPr id="27" name="Picture Placeholder 26"/>
          <p:cNvSpPr>
            <a:spLocks noGrp="1" noChangeAspect="1"/>
          </p:cNvSpPr>
          <p:nvPr>
            <p:ph type="pic" sz="quarter" idx="17"/>
          </p:nvPr>
        </p:nvSpPr>
        <p:spPr>
          <a:xfrm>
            <a:off x="3662437" y="4586515"/>
            <a:ext cx="3406019" cy="2099733"/>
          </a:xfrm>
          <a:custGeom>
            <a:avLst/>
            <a:gdLst>
              <a:gd name="connsiteX0" fmla="*/ 0 w 5109029"/>
              <a:gd name="connsiteY0" fmla="*/ 0 h 3149600"/>
              <a:gd name="connsiteX1" fmla="*/ 5109029 w 5109029"/>
              <a:gd name="connsiteY1" fmla="*/ 0 h 3149600"/>
              <a:gd name="connsiteX2" fmla="*/ 5109029 w 5109029"/>
              <a:gd name="connsiteY2" fmla="*/ 3149600 h 3149600"/>
              <a:gd name="connsiteX3" fmla="*/ 0 w 5109029"/>
              <a:gd name="connsiteY3" fmla="*/ 3149600 h 314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9029" h="3149600">
                <a:moveTo>
                  <a:pt x="0" y="0"/>
                </a:moveTo>
                <a:lnTo>
                  <a:pt x="5109029" y="0"/>
                </a:lnTo>
                <a:lnTo>
                  <a:pt x="5109029" y="3149600"/>
                </a:lnTo>
                <a:lnTo>
                  <a:pt x="0" y="3149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0">
            <a:noFill/>
          </a:ln>
          <a:effectLst/>
          <a:scene3d>
            <a:camera prst="orthographicFront">
              <a:rot lat="0" lon="0" rev="0"/>
            </a:camera>
            <a:lightRig rig="soft" dir="t"/>
          </a:scene3d>
        </p:spPr>
        <p:txBody>
          <a:bodyPr wrap="square" tIns="365760">
            <a:noAutofit/>
          </a:bodyPr>
          <a:lstStyle>
            <a:lvl1pPr marL="0" indent="0" algn="ctr">
              <a:buNone/>
              <a:defRPr sz="1600"/>
            </a:lvl1pPr>
          </a:lstStyle>
          <a:p>
            <a:endParaRPr lang="ko-KR" altLang="en-US"/>
          </a:p>
        </p:txBody>
      </p:sp>
      <p:sp>
        <p:nvSpPr>
          <p:cNvPr id="29" name="Picture Placeholder 28"/>
          <p:cNvSpPr>
            <a:spLocks noGrp="1" noChangeAspect="1"/>
          </p:cNvSpPr>
          <p:nvPr>
            <p:ph type="pic" sz="quarter" idx="19"/>
          </p:nvPr>
        </p:nvSpPr>
        <p:spPr>
          <a:xfrm>
            <a:off x="7189409" y="2356153"/>
            <a:ext cx="3406019" cy="2099733"/>
          </a:xfrm>
          <a:custGeom>
            <a:avLst/>
            <a:gdLst>
              <a:gd name="connsiteX0" fmla="*/ 0 w 5109029"/>
              <a:gd name="connsiteY0" fmla="*/ 0 h 3149600"/>
              <a:gd name="connsiteX1" fmla="*/ 5109029 w 5109029"/>
              <a:gd name="connsiteY1" fmla="*/ 0 h 3149600"/>
              <a:gd name="connsiteX2" fmla="*/ 5109029 w 5109029"/>
              <a:gd name="connsiteY2" fmla="*/ 3149600 h 3149600"/>
              <a:gd name="connsiteX3" fmla="*/ 0 w 5109029"/>
              <a:gd name="connsiteY3" fmla="*/ 3149600 h 314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9029" h="3149600">
                <a:moveTo>
                  <a:pt x="0" y="0"/>
                </a:moveTo>
                <a:lnTo>
                  <a:pt x="5109029" y="0"/>
                </a:lnTo>
                <a:lnTo>
                  <a:pt x="5109029" y="3149600"/>
                </a:lnTo>
                <a:lnTo>
                  <a:pt x="0" y="3149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0">
            <a:noFill/>
          </a:ln>
          <a:effectLst/>
          <a:scene3d>
            <a:camera prst="orthographicFront">
              <a:rot lat="0" lon="0" rev="0"/>
            </a:camera>
            <a:lightRig rig="soft" dir="t"/>
          </a:scene3d>
        </p:spPr>
        <p:txBody>
          <a:bodyPr wrap="square" tIns="365760">
            <a:noAutofit/>
          </a:bodyPr>
          <a:lstStyle>
            <a:lvl1pPr marL="0" indent="0" algn="ctr">
              <a:buNone/>
              <a:defRPr sz="1600"/>
            </a:lvl1pPr>
          </a:lstStyle>
          <a:p>
            <a:endParaRPr lang="ko-KR" altLang="en-US"/>
          </a:p>
        </p:txBody>
      </p:sp>
      <p:sp>
        <p:nvSpPr>
          <p:cNvPr id="30" name="Picture Placeholder 29"/>
          <p:cNvSpPr>
            <a:spLocks noGrp="1" noChangeAspect="1"/>
          </p:cNvSpPr>
          <p:nvPr>
            <p:ph type="pic" sz="quarter" idx="20"/>
          </p:nvPr>
        </p:nvSpPr>
        <p:spPr>
          <a:xfrm>
            <a:off x="7189409" y="4586515"/>
            <a:ext cx="3406019" cy="2099733"/>
          </a:xfrm>
          <a:custGeom>
            <a:avLst/>
            <a:gdLst>
              <a:gd name="connsiteX0" fmla="*/ 0 w 5109029"/>
              <a:gd name="connsiteY0" fmla="*/ 0 h 3149600"/>
              <a:gd name="connsiteX1" fmla="*/ 5109029 w 5109029"/>
              <a:gd name="connsiteY1" fmla="*/ 0 h 3149600"/>
              <a:gd name="connsiteX2" fmla="*/ 5109029 w 5109029"/>
              <a:gd name="connsiteY2" fmla="*/ 3149600 h 3149600"/>
              <a:gd name="connsiteX3" fmla="*/ 0 w 5109029"/>
              <a:gd name="connsiteY3" fmla="*/ 3149600 h 314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09029" h="3149600">
                <a:moveTo>
                  <a:pt x="0" y="0"/>
                </a:moveTo>
                <a:lnTo>
                  <a:pt x="5109029" y="0"/>
                </a:lnTo>
                <a:lnTo>
                  <a:pt x="5109029" y="3149600"/>
                </a:lnTo>
                <a:lnTo>
                  <a:pt x="0" y="31496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63500">
            <a:noFill/>
          </a:ln>
          <a:effectLst/>
          <a:scene3d>
            <a:camera prst="orthographicFront">
              <a:rot lat="0" lon="0" rev="0"/>
            </a:camera>
            <a:lightRig rig="soft" dir="t"/>
          </a:scene3d>
        </p:spPr>
        <p:txBody>
          <a:bodyPr wrap="square" tIns="365760">
            <a:noAutofit/>
          </a:bodyPr>
          <a:lstStyle>
            <a:lvl1pPr marL="0" indent="0" algn="ctr">
              <a:buNone/>
              <a:defRPr sz="1600"/>
            </a:lvl1pPr>
          </a:lstStyle>
          <a:p>
            <a:endParaRPr lang="ko-KR" altLang="en-US"/>
          </a:p>
        </p:txBody>
      </p:sp>
    </p:spTree>
  </p:cSld>
  <p:clrMapOvr>
    <a:masterClrMapping/>
  </p:clrMapOvr>
  <p:transition/>
  <p:hf sldNum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08001" y="928914"/>
            <a:ext cx="3846286" cy="505097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</p:spTree>
  </p:cSld>
  <p:clrMapOvr>
    <a:masterClrMapping/>
  </p:clrMapOvr>
  <p:transition/>
  <p:hf sldNum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2000">
        <p:random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 advTm="2000">
        <p:random/>
      </p:transition>
    </mc:Fallback>
  </mc:AlternateContent>
  <p:hf sldNum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  <p:hf sldNum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2000">
        <p:random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 advTm="2000">
        <p:random/>
      </p:transition>
    </mc:Fallback>
  </mc:AlternateContent>
  <p:hf sldNum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6" r:id="rId17"/>
    <p:sldLayoutId id="2147483667" r:id="rId18"/>
    <p:sldLayoutId id="2147483668" r:id="rId19"/>
    <p:sldLayoutId id="2147483671" r:id="rId20"/>
  </p:sldLayoutIdLst>
  <p:transition/>
  <p:hf sldNum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ransition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3.jpeg"/><Relationship Id="rId12" Type="http://schemas.openxmlformats.org/officeDocument/2006/relationships/image" Target="../media/image38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Relationship Id="rId6" Type="http://schemas.openxmlformats.org/officeDocument/2006/relationships/image" Target="../media/image32.jpeg"/><Relationship Id="rId11" Type="http://schemas.openxmlformats.org/officeDocument/2006/relationships/image" Target="../media/image37.jpeg"/><Relationship Id="rId5" Type="http://schemas.openxmlformats.org/officeDocument/2006/relationships/image" Target="../media/image31.jpeg"/><Relationship Id="rId10" Type="http://schemas.openxmlformats.org/officeDocument/2006/relationships/image" Target="../media/image36.jpeg"/><Relationship Id="rId4" Type="http://schemas.openxmlformats.org/officeDocument/2006/relationships/image" Target="../media/image30.png"/><Relationship Id="rId9" Type="http://schemas.openxmlformats.org/officeDocument/2006/relationships/image" Target="../media/image35.jpeg"/><Relationship Id="rId1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chart" Target="../charts/chart3.xml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6.xml"/><Relationship Id="rId4" Type="http://schemas.openxmlformats.org/officeDocument/2006/relationships/image" Target="../media/image4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4" Type="http://schemas.openxmlformats.org/officeDocument/2006/relationships/image" Target="../media/image49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4" Type="http://schemas.openxmlformats.org/officeDocument/2006/relationships/chart" Target="../charts/char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notesSlide" Target="../notesSlides/notesSlide3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61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freeppt7_com" TargetMode="External"/><Relationship Id="rId13" Type="http://schemas.openxmlformats.org/officeDocument/2006/relationships/hyperlink" Target="https://www.freeppt7.com/" TargetMode="External"/><Relationship Id="rId3" Type="http://schemas.openxmlformats.org/officeDocument/2006/relationships/image" Target="../media/image62.png"/><Relationship Id="rId7" Type="http://schemas.openxmlformats.org/officeDocument/2006/relationships/image" Target="../media/image64.png"/><Relationship Id="rId12" Type="http://schemas.openxmlformats.org/officeDocument/2006/relationships/hyperlink" Target="https://www.freeppt7.com/ggslide-school/" TargetMode="External"/><Relationship Id="rId2" Type="http://schemas.openxmlformats.org/officeDocument/2006/relationships/hyperlink" Target="https://www.facebook.com/freeppt7/" TargetMode="External"/><Relationship Id="rId1" Type="http://schemas.openxmlformats.org/officeDocument/2006/relationships/slideLayout" Target="../slideLayouts/slideLayout20.xml"/><Relationship Id="rId6" Type="http://schemas.openxmlformats.org/officeDocument/2006/relationships/hyperlink" Target="https://www.youtube.com/@Slidestemplatesfree" TargetMode="External"/><Relationship Id="rId11" Type="http://schemas.openxmlformats.org/officeDocument/2006/relationships/image" Target="../media/image66.png"/><Relationship Id="rId5" Type="http://schemas.openxmlformats.org/officeDocument/2006/relationships/image" Target="../media/image63.png"/><Relationship Id="rId10" Type="http://schemas.openxmlformats.org/officeDocument/2006/relationships/hyperlink" Target="https://www.linkedin.com/in/liu-kaiwei-b180991a9/" TargetMode="External"/><Relationship Id="rId4" Type="http://schemas.openxmlformats.org/officeDocument/2006/relationships/hyperlink" Target="https://www.instagram.com/slidesfree/" TargetMode="External"/><Relationship Id="rId9" Type="http://schemas.openxmlformats.org/officeDocument/2006/relationships/image" Target="../media/image65.png"/><Relationship Id="rId14" Type="http://schemas.openxmlformats.org/officeDocument/2006/relationships/hyperlink" Target="http://www.freeppt7.com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4" name="图片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accent1">
                <a:lumMod val="20000"/>
                <a:lumOff val="8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4178" y="0"/>
            <a:ext cx="12316178" cy="6858000"/>
          </a:xfrm>
          <a:prstGeom prst="rect">
            <a:avLst/>
          </a:prstGeom>
        </p:spPr>
      </p:pic>
      <p:pic>
        <p:nvPicPr>
          <p:cNvPr id="7" name="Picture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8285"/>
          <a:stretch>
            <a:fillRect/>
          </a:stretch>
        </p:blipFill>
        <p:spPr bwMode="auto">
          <a:xfrm>
            <a:off x="11489953" y="2752962"/>
            <a:ext cx="1027289" cy="767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91067" y="502357"/>
            <a:ext cx="1027289" cy="767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文本框 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338668"/>
            <a:ext cx="9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cs typeface="等线" panose="02010600030101010101" charset="-122"/>
              </a:rPr>
              <a:t>WATER</a:t>
            </a:r>
          </a:p>
        </p:txBody>
      </p:sp>
      <p:grpSp>
        <p:nvGrpSpPr>
          <p:cNvPr id="13" name="组合 1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390781" y="419542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14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5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  <p:sp>
        <p:nvSpPr>
          <p:cNvPr id="5" name="文本框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769825" y="1206384"/>
            <a:ext cx="857087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</a:rPr>
              <a:t>Free </a:t>
            </a:r>
          </a:p>
          <a:p>
            <a:r>
              <a:rPr lang="en-US" altLang="zh-CN" sz="8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</a:rPr>
              <a:t>PPT Templates</a:t>
            </a:r>
          </a:p>
        </p:txBody>
      </p:sp>
      <p:sp>
        <p:nvSpPr>
          <p:cNvPr id="11" name="TextBox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865764" y="3799029"/>
            <a:ext cx="6869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sz="20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BUSINESS PRESENTATION TEMPLATE</a:t>
            </a:r>
          </a:p>
        </p:txBody>
      </p:sp>
      <p:sp>
        <p:nvSpPr>
          <p:cNvPr id="12" name="Rounded Rectangle 7">
            <a:extLst>
              <a:ext uri="{FF2B5EF4-FFF2-40B4-BE49-F238E27FC236}">
                <a16:creationId xmlns:a16="http://schemas.microsoft.com/office/drawing/2014/main" id="{095CE060-1DFA-8CCE-468F-DF12B904D7DF}"/>
              </a:ext>
            </a:extLst>
          </p:cNvPr>
          <p:cNvSpPr/>
          <p:nvPr/>
        </p:nvSpPr>
        <p:spPr>
          <a:xfrm>
            <a:off x="9262343" y="419542"/>
            <a:ext cx="1684599" cy="413563"/>
          </a:xfrm>
          <a:prstGeom prst="roundRect">
            <a:avLst>
              <a:gd name="adj" fmla="val 50000"/>
            </a:avLst>
          </a:prstGeom>
          <a:solidFill>
            <a:schemeClr val="bg1">
              <a:alpha val="0"/>
            </a:schemeClr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700" dirty="0"/>
              <a:t>LOGO</a:t>
            </a:r>
            <a:endParaRPr lang="ko-KR" altLang="en-US" sz="2700" dirty="0"/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5CFF3781-CD20-A862-6A60-42F1DC6E5758}"/>
              </a:ext>
            </a:extLst>
          </p:cNvPr>
          <p:cNvGrpSpPr/>
          <p:nvPr/>
        </p:nvGrpSpPr>
        <p:grpSpPr>
          <a:xfrm>
            <a:off x="2968663" y="4599045"/>
            <a:ext cx="3954993" cy="327543"/>
            <a:chOff x="4414802" y="4745227"/>
            <a:chExt cx="3954993" cy="327543"/>
          </a:xfrm>
        </p:grpSpPr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6FB41706-D64C-952D-DF27-72E63EBA50A6}"/>
                </a:ext>
              </a:extLst>
            </p:cNvPr>
            <p:cNvGrpSpPr/>
            <p:nvPr/>
          </p:nvGrpSpPr>
          <p:grpSpPr>
            <a:xfrm>
              <a:off x="6916771" y="4765241"/>
              <a:ext cx="290407" cy="290407"/>
              <a:chOff x="2895100" y="5545226"/>
              <a:chExt cx="290407" cy="290407"/>
            </a:xfrm>
            <a:solidFill>
              <a:schemeClr val="bg1"/>
            </a:solidFill>
          </p:grpSpPr>
          <p:sp>
            <p:nvSpPr>
              <p:cNvPr id="25" name="Oval 15">
                <a:extLst>
                  <a:ext uri="{FF2B5EF4-FFF2-40B4-BE49-F238E27FC236}">
                    <a16:creationId xmlns:a16="http://schemas.microsoft.com/office/drawing/2014/main" id="{336AE4BE-3F07-6FE4-E2B0-DE05E9A9E8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100" y="5545226"/>
                <a:ext cx="290407" cy="290407"/>
              </a:xfrm>
              <a:prstGeom prst="ellipse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800">
                  <a:solidFill>
                    <a:srgbClr val="36396E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6" name="Group 16">
                <a:extLst>
                  <a:ext uri="{FF2B5EF4-FFF2-40B4-BE49-F238E27FC236}">
                    <a16:creationId xmlns:a16="http://schemas.microsoft.com/office/drawing/2014/main" id="{AE568D12-2CE0-6C92-C080-2E1F67E8487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88289" y="5588481"/>
                <a:ext cx="104062" cy="190050"/>
                <a:chOff x="4982" y="3116"/>
                <a:chExt cx="215" cy="392"/>
              </a:xfrm>
              <a:grpFill/>
            </p:grpSpPr>
            <p:sp>
              <p:nvSpPr>
                <p:cNvPr id="27" name="Freeform 17">
                  <a:extLst>
                    <a:ext uri="{FF2B5EF4-FFF2-40B4-BE49-F238E27FC236}">
                      <a16:creationId xmlns:a16="http://schemas.microsoft.com/office/drawing/2014/main" id="{B5519B04-4BE0-9EEC-27F1-F333703FA37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5" y="3116"/>
                  <a:ext cx="149" cy="253"/>
                </a:xfrm>
                <a:custGeom>
                  <a:avLst/>
                  <a:gdLst>
                    <a:gd name="T0" fmla="*/ 31 w 63"/>
                    <a:gd name="T1" fmla="*/ 107 h 107"/>
                    <a:gd name="T2" fmla="*/ 63 w 63"/>
                    <a:gd name="T3" fmla="*/ 78 h 107"/>
                    <a:gd name="T4" fmla="*/ 63 w 63"/>
                    <a:gd name="T5" fmla="*/ 29 h 107"/>
                    <a:gd name="T6" fmla="*/ 31 w 63"/>
                    <a:gd name="T7" fmla="*/ 0 h 107"/>
                    <a:gd name="T8" fmla="*/ 0 w 63"/>
                    <a:gd name="T9" fmla="*/ 29 h 107"/>
                    <a:gd name="T10" fmla="*/ 0 w 63"/>
                    <a:gd name="T11" fmla="*/ 78 h 107"/>
                    <a:gd name="T12" fmla="*/ 31 w 63"/>
                    <a:gd name="T13" fmla="*/ 107 h 107"/>
                    <a:gd name="T14" fmla="*/ 10 w 63"/>
                    <a:gd name="T15" fmla="*/ 29 h 107"/>
                    <a:gd name="T16" fmla="*/ 31 w 63"/>
                    <a:gd name="T17" fmla="*/ 10 h 107"/>
                    <a:gd name="T18" fmla="*/ 53 w 63"/>
                    <a:gd name="T19" fmla="*/ 29 h 107"/>
                    <a:gd name="T20" fmla="*/ 53 w 63"/>
                    <a:gd name="T21" fmla="*/ 78 h 107"/>
                    <a:gd name="T22" fmla="*/ 31 w 63"/>
                    <a:gd name="T23" fmla="*/ 97 h 107"/>
                    <a:gd name="T24" fmla="*/ 10 w 63"/>
                    <a:gd name="T25" fmla="*/ 78 h 107"/>
                    <a:gd name="T26" fmla="*/ 10 w 63"/>
                    <a:gd name="T27" fmla="*/ 2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3" h="107">
                      <a:moveTo>
                        <a:pt x="31" y="107"/>
                      </a:moveTo>
                      <a:cubicBezTo>
                        <a:pt x="49" y="107"/>
                        <a:pt x="63" y="94"/>
                        <a:pt x="63" y="78"/>
                      </a:cubicBezTo>
                      <a:cubicBezTo>
                        <a:pt x="63" y="29"/>
                        <a:pt x="63" y="29"/>
                        <a:pt x="63" y="29"/>
                      </a:cubicBezTo>
                      <a:cubicBezTo>
                        <a:pt x="63" y="13"/>
                        <a:pt x="49" y="0"/>
                        <a:pt x="31" y="0"/>
                      </a:cubicBezTo>
                      <a:cubicBezTo>
                        <a:pt x="14" y="0"/>
                        <a:pt x="0" y="13"/>
                        <a:pt x="0" y="29"/>
                      </a:cubicBezTo>
                      <a:cubicBezTo>
                        <a:pt x="0" y="78"/>
                        <a:pt x="0" y="78"/>
                        <a:pt x="0" y="78"/>
                      </a:cubicBezTo>
                      <a:cubicBezTo>
                        <a:pt x="0" y="94"/>
                        <a:pt x="14" y="107"/>
                        <a:pt x="31" y="107"/>
                      </a:cubicBezTo>
                      <a:close/>
                      <a:moveTo>
                        <a:pt x="10" y="29"/>
                      </a:moveTo>
                      <a:cubicBezTo>
                        <a:pt x="10" y="18"/>
                        <a:pt x="19" y="10"/>
                        <a:pt x="31" y="10"/>
                      </a:cubicBezTo>
                      <a:cubicBezTo>
                        <a:pt x="43" y="10"/>
                        <a:pt x="53" y="18"/>
                        <a:pt x="53" y="29"/>
                      </a:cubicBezTo>
                      <a:cubicBezTo>
                        <a:pt x="53" y="78"/>
                        <a:pt x="53" y="78"/>
                        <a:pt x="53" y="78"/>
                      </a:cubicBezTo>
                      <a:cubicBezTo>
                        <a:pt x="53" y="88"/>
                        <a:pt x="43" y="97"/>
                        <a:pt x="31" y="97"/>
                      </a:cubicBezTo>
                      <a:cubicBezTo>
                        <a:pt x="19" y="97"/>
                        <a:pt x="10" y="88"/>
                        <a:pt x="10" y="78"/>
                      </a:cubicBezTo>
                      <a:lnTo>
                        <a:pt x="10" y="29"/>
                      </a:ln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Freeform 18">
                  <a:extLst>
                    <a:ext uri="{FF2B5EF4-FFF2-40B4-BE49-F238E27FC236}">
                      <a16:creationId xmlns:a16="http://schemas.microsoft.com/office/drawing/2014/main" id="{ED27C3E3-27D1-43F8-0E15-D4139D0B89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2" y="3286"/>
                  <a:ext cx="215" cy="222"/>
                </a:xfrm>
                <a:custGeom>
                  <a:avLst/>
                  <a:gdLst>
                    <a:gd name="T0" fmla="*/ 86 w 91"/>
                    <a:gd name="T1" fmla="*/ 0 h 94"/>
                    <a:gd name="T2" fmla="*/ 81 w 91"/>
                    <a:gd name="T3" fmla="*/ 5 h 94"/>
                    <a:gd name="T4" fmla="*/ 81 w 91"/>
                    <a:gd name="T5" fmla="*/ 28 h 94"/>
                    <a:gd name="T6" fmla="*/ 45 w 91"/>
                    <a:gd name="T7" fmla="*/ 59 h 94"/>
                    <a:gd name="T8" fmla="*/ 10 w 91"/>
                    <a:gd name="T9" fmla="*/ 28 h 94"/>
                    <a:gd name="T10" fmla="*/ 10 w 91"/>
                    <a:gd name="T11" fmla="*/ 5 h 94"/>
                    <a:gd name="T12" fmla="*/ 5 w 91"/>
                    <a:gd name="T13" fmla="*/ 0 h 94"/>
                    <a:gd name="T14" fmla="*/ 0 w 91"/>
                    <a:gd name="T15" fmla="*/ 5 h 94"/>
                    <a:gd name="T16" fmla="*/ 0 w 91"/>
                    <a:gd name="T17" fmla="*/ 28 h 94"/>
                    <a:gd name="T18" fmla="*/ 40 w 91"/>
                    <a:gd name="T19" fmla="*/ 69 h 94"/>
                    <a:gd name="T20" fmla="*/ 40 w 91"/>
                    <a:gd name="T21" fmla="*/ 84 h 94"/>
                    <a:gd name="T22" fmla="*/ 20 w 91"/>
                    <a:gd name="T23" fmla="*/ 84 h 94"/>
                    <a:gd name="T24" fmla="*/ 15 w 91"/>
                    <a:gd name="T25" fmla="*/ 89 h 94"/>
                    <a:gd name="T26" fmla="*/ 20 w 91"/>
                    <a:gd name="T27" fmla="*/ 94 h 94"/>
                    <a:gd name="T28" fmla="*/ 70 w 91"/>
                    <a:gd name="T29" fmla="*/ 94 h 94"/>
                    <a:gd name="T30" fmla="*/ 75 w 91"/>
                    <a:gd name="T31" fmla="*/ 89 h 94"/>
                    <a:gd name="T32" fmla="*/ 70 w 91"/>
                    <a:gd name="T33" fmla="*/ 84 h 94"/>
                    <a:gd name="T34" fmla="*/ 50 w 91"/>
                    <a:gd name="T35" fmla="*/ 84 h 94"/>
                    <a:gd name="T36" fmla="*/ 50 w 91"/>
                    <a:gd name="T37" fmla="*/ 69 h 94"/>
                    <a:gd name="T38" fmla="*/ 91 w 91"/>
                    <a:gd name="T39" fmla="*/ 28 h 94"/>
                    <a:gd name="T40" fmla="*/ 91 w 91"/>
                    <a:gd name="T41" fmla="*/ 5 h 94"/>
                    <a:gd name="T42" fmla="*/ 86 w 91"/>
                    <a:gd name="T43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91" h="94">
                      <a:moveTo>
                        <a:pt x="86" y="0"/>
                      </a:moveTo>
                      <a:cubicBezTo>
                        <a:pt x="83" y="0"/>
                        <a:pt x="81" y="3"/>
                        <a:pt x="81" y="5"/>
                      </a:cubicBezTo>
                      <a:cubicBezTo>
                        <a:pt x="81" y="28"/>
                        <a:pt x="81" y="28"/>
                        <a:pt x="81" y="28"/>
                      </a:cubicBezTo>
                      <a:cubicBezTo>
                        <a:pt x="81" y="45"/>
                        <a:pt x="65" y="59"/>
                        <a:pt x="45" y="59"/>
                      </a:cubicBezTo>
                      <a:cubicBezTo>
                        <a:pt x="26" y="59"/>
                        <a:pt x="10" y="45"/>
                        <a:pt x="10" y="28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2"/>
                        <a:pt x="8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49"/>
                        <a:pt x="18" y="67"/>
                        <a:pt x="40" y="69"/>
                      </a:cubicBezTo>
                      <a:cubicBezTo>
                        <a:pt x="40" y="84"/>
                        <a:pt x="40" y="84"/>
                        <a:pt x="40" y="84"/>
                      </a:cubicBezTo>
                      <a:cubicBezTo>
                        <a:pt x="20" y="84"/>
                        <a:pt x="20" y="84"/>
                        <a:pt x="20" y="84"/>
                      </a:cubicBezTo>
                      <a:cubicBezTo>
                        <a:pt x="18" y="84"/>
                        <a:pt x="15" y="86"/>
                        <a:pt x="15" y="89"/>
                      </a:cubicBezTo>
                      <a:cubicBezTo>
                        <a:pt x="15" y="92"/>
                        <a:pt x="18" y="94"/>
                        <a:pt x="20" y="94"/>
                      </a:cubicBezTo>
                      <a:cubicBezTo>
                        <a:pt x="70" y="94"/>
                        <a:pt x="70" y="94"/>
                        <a:pt x="70" y="94"/>
                      </a:cubicBezTo>
                      <a:cubicBezTo>
                        <a:pt x="73" y="94"/>
                        <a:pt x="75" y="92"/>
                        <a:pt x="75" y="89"/>
                      </a:cubicBezTo>
                      <a:cubicBezTo>
                        <a:pt x="75" y="86"/>
                        <a:pt x="73" y="84"/>
                        <a:pt x="70" y="84"/>
                      </a:cubicBezTo>
                      <a:cubicBezTo>
                        <a:pt x="50" y="84"/>
                        <a:pt x="50" y="84"/>
                        <a:pt x="50" y="84"/>
                      </a:cubicBezTo>
                      <a:cubicBezTo>
                        <a:pt x="50" y="69"/>
                        <a:pt x="50" y="69"/>
                        <a:pt x="50" y="69"/>
                      </a:cubicBezTo>
                      <a:cubicBezTo>
                        <a:pt x="73" y="67"/>
                        <a:pt x="91" y="49"/>
                        <a:pt x="91" y="28"/>
                      </a:cubicBezTo>
                      <a:cubicBezTo>
                        <a:pt x="91" y="5"/>
                        <a:pt x="91" y="5"/>
                        <a:pt x="91" y="5"/>
                      </a:cubicBezTo>
                      <a:cubicBezTo>
                        <a:pt x="91" y="3"/>
                        <a:pt x="88" y="0"/>
                        <a:pt x="86" y="0"/>
                      </a:cubicBez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7F415D72-888F-953C-EC73-0F44D57CC75E}"/>
                </a:ext>
              </a:extLst>
            </p:cNvPr>
            <p:cNvGrpSpPr/>
            <p:nvPr/>
          </p:nvGrpSpPr>
          <p:grpSpPr>
            <a:xfrm>
              <a:off x="4414802" y="4745227"/>
              <a:ext cx="290407" cy="290407"/>
              <a:chOff x="732769" y="5535598"/>
              <a:chExt cx="290407" cy="290407"/>
            </a:xfrm>
            <a:solidFill>
              <a:schemeClr val="bg1"/>
            </a:solidFill>
          </p:grpSpPr>
          <p:sp>
            <p:nvSpPr>
              <p:cNvPr id="21" name="Oval 10">
                <a:extLst>
                  <a:ext uri="{FF2B5EF4-FFF2-40B4-BE49-F238E27FC236}">
                    <a16:creationId xmlns:a16="http://schemas.microsoft.com/office/drawing/2014/main" id="{05ED4734-42E2-EDA8-FAE6-F9742E090A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769" y="5535598"/>
                <a:ext cx="290407" cy="290407"/>
              </a:xfrm>
              <a:prstGeom prst="ellipse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800" dirty="0">
                  <a:solidFill>
                    <a:srgbClr val="36396E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2" name="组合 21">
                <a:extLst>
                  <a:ext uri="{FF2B5EF4-FFF2-40B4-BE49-F238E27FC236}">
                    <a16:creationId xmlns:a16="http://schemas.microsoft.com/office/drawing/2014/main" id="{FE0E5C9F-31FF-EF8D-4145-7895D936D52F}"/>
                  </a:ext>
                </a:extLst>
              </p:cNvPr>
              <p:cNvGrpSpPr/>
              <p:nvPr/>
            </p:nvGrpSpPr>
            <p:grpSpPr>
              <a:xfrm>
                <a:off x="811795" y="5598991"/>
                <a:ext cx="132841" cy="151011"/>
                <a:chOff x="860980" y="3583766"/>
                <a:chExt cx="100336" cy="114060"/>
              </a:xfrm>
              <a:grpFill/>
            </p:grpSpPr>
            <p:sp>
              <p:nvSpPr>
                <p:cNvPr id="23" name="Freeform 12">
                  <a:extLst>
                    <a:ext uri="{FF2B5EF4-FFF2-40B4-BE49-F238E27FC236}">
                      <a16:creationId xmlns:a16="http://schemas.microsoft.com/office/drawing/2014/main" id="{52A2B88C-ECB8-5961-2CD4-61CE06A685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4050" y="3583766"/>
                  <a:ext cx="53830" cy="53740"/>
                </a:xfrm>
                <a:custGeom>
                  <a:avLst/>
                  <a:gdLst>
                    <a:gd name="T0" fmla="*/ 31 w 62"/>
                    <a:gd name="T1" fmla="*/ 62 h 62"/>
                    <a:gd name="T2" fmla="*/ 0 w 62"/>
                    <a:gd name="T3" fmla="*/ 31 h 62"/>
                    <a:gd name="T4" fmla="*/ 31 w 62"/>
                    <a:gd name="T5" fmla="*/ 0 h 62"/>
                    <a:gd name="T6" fmla="*/ 62 w 62"/>
                    <a:gd name="T7" fmla="*/ 31 h 62"/>
                    <a:gd name="T8" fmla="*/ 31 w 62"/>
                    <a:gd name="T9" fmla="*/ 62 h 62"/>
                    <a:gd name="T10" fmla="*/ 31 w 62"/>
                    <a:gd name="T11" fmla="*/ 11 h 62"/>
                    <a:gd name="T12" fmla="*/ 11 w 62"/>
                    <a:gd name="T13" fmla="*/ 31 h 62"/>
                    <a:gd name="T14" fmla="*/ 31 w 62"/>
                    <a:gd name="T15" fmla="*/ 51 h 62"/>
                    <a:gd name="T16" fmla="*/ 51 w 62"/>
                    <a:gd name="T17" fmla="*/ 31 h 62"/>
                    <a:gd name="T18" fmla="*/ 31 w 62"/>
                    <a:gd name="T19" fmla="*/ 11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62">
                      <a:moveTo>
                        <a:pt x="31" y="62"/>
                      </a:moveTo>
                      <a:cubicBezTo>
                        <a:pt x="14" y="62"/>
                        <a:pt x="0" y="48"/>
                        <a:pt x="0" y="31"/>
                      </a:cubicBezTo>
                      <a:cubicBezTo>
                        <a:pt x="0" y="14"/>
                        <a:pt x="14" y="0"/>
                        <a:pt x="31" y="0"/>
                      </a:cubicBezTo>
                      <a:cubicBezTo>
                        <a:pt x="48" y="0"/>
                        <a:pt x="62" y="14"/>
                        <a:pt x="62" y="31"/>
                      </a:cubicBezTo>
                      <a:cubicBezTo>
                        <a:pt x="62" y="48"/>
                        <a:pt x="48" y="62"/>
                        <a:pt x="31" y="62"/>
                      </a:cubicBezTo>
                      <a:close/>
                      <a:moveTo>
                        <a:pt x="31" y="11"/>
                      </a:moveTo>
                      <a:cubicBezTo>
                        <a:pt x="20" y="11"/>
                        <a:pt x="11" y="20"/>
                        <a:pt x="11" y="31"/>
                      </a:cubicBezTo>
                      <a:cubicBezTo>
                        <a:pt x="11" y="42"/>
                        <a:pt x="20" y="51"/>
                        <a:pt x="31" y="51"/>
                      </a:cubicBezTo>
                      <a:cubicBezTo>
                        <a:pt x="42" y="51"/>
                        <a:pt x="51" y="42"/>
                        <a:pt x="51" y="31"/>
                      </a:cubicBezTo>
                      <a:cubicBezTo>
                        <a:pt x="51" y="20"/>
                        <a:pt x="42" y="11"/>
                        <a:pt x="31" y="11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Freeform 13">
                  <a:extLst>
                    <a:ext uri="{FF2B5EF4-FFF2-40B4-BE49-F238E27FC236}">
                      <a16:creationId xmlns:a16="http://schemas.microsoft.com/office/drawing/2014/main" id="{7F03D880-8D3A-1C34-CBC4-59A73378DA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980" y="3643355"/>
                  <a:ext cx="100336" cy="54471"/>
                </a:xfrm>
                <a:custGeom>
                  <a:avLst/>
                  <a:gdLst>
                    <a:gd name="T0" fmla="*/ 111 w 116"/>
                    <a:gd name="T1" fmla="*/ 63 h 63"/>
                    <a:gd name="T2" fmla="*/ 105 w 116"/>
                    <a:gd name="T3" fmla="*/ 58 h 63"/>
                    <a:gd name="T4" fmla="*/ 58 w 116"/>
                    <a:gd name="T5" fmla="*/ 11 h 63"/>
                    <a:gd name="T6" fmla="*/ 11 w 116"/>
                    <a:gd name="T7" fmla="*/ 58 h 63"/>
                    <a:gd name="T8" fmla="*/ 6 w 116"/>
                    <a:gd name="T9" fmla="*/ 63 h 63"/>
                    <a:gd name="T10" fmla="*/ 0 w 116"/>
                    <a:gd name="T11" fmla="*/ 58 h 63"/>
                    <a:gd name="T12" fmla="*/ 58 w 116"/>
                    <a:gd name="T13" fmla="*/ 0 h 63"/>
                    <a:gd name="T14" fmla="*/ 116 w 116"/>
                    <a:gd name="T15" fmla="*/ 58 h 63"/>
                    <a:gd name="T16" fmla="*/ 111 w 116"/>
                    <a:gd name="T1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63">
                      <a:moveTo>
                        <a:pt x="111" y="63"/>
                      </a:moveTo>
                      <a:cubicBezTo>
                        <a:pt x="108" y="63"/>
                        <a:pt x="105" y="61"/>
                        <a:pt x="105" y="58"/>
                      </a:cubicBezTo>
                      <a:cubicBezTo>
                        <a:pt x="105" y="32"/>
                        <a:pt x="84" y="11"/>
                        <a:pt x="58" y="11"/>
                      </a:cubicBezTo>
                      <a:cubicBezTo>
                        <a:pt x="32" y="11"/>
                        <a:pt x="11" y="32"/>
                        <a:pt x="11" y="58"/>
                      </a:cubicBezTo>
                      <a:cubicBezTo>
                        <a:pt x="11" y="61"/>
                        <a:pt x="9" y="63"/>
                        <a:pt x="6" y="63"/>
                      </a:cubicBezTo>
                      <a:cubicBezTo>
                        <a:pt x="3" y="63"/>
                        <a:pt x="0" y="61"/>
                        <a:pt x="0" y="58"/>
                      </a:cubicBezTo>
                      <a:cubicBezTo>
                        <a:pt x="0" y="26"/>
                        <a:pt x="26" y="0"/>
                        <a:pt x="58" y="0"/>
                      </a:cubicBezTo>
                      <a:cubicBezTo>
                        <a:pt x="90" y="0"/>
                        <a:pt x="116" y="26"/>
                        <a:pt x="116" y="58"/>
                      </a:cubicBezTo>
                      <a:cubicBezTo>
                        <a:pt x="116" y="61"/>
                        <a:pt x="114" y="63"/>
                        <a:pt x="111" y="63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19" name="Text Box 20">
              <a:extLst>
                <a:ext uri="{FF2B5EF4-FFF2-40B4-BE49-F238E27FC236}">
                  <a16:creationId xmlns:a16="http://schemas.microsoft.com/office/drawing/2014/main" id="{A618DA46-2E38-3412-8F6F-8EA9A9AD034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232945" y="4764993"/>
              <a:ext cx="113685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400" dirty="0">
                  <a:solidFill>
                    <a:schemeClr val="bg1"/>
                  </a:solidFill>
                  <a:cs typeface="+mn-ea"/>
                  <a:sym typeface="+mn-lt"/>
                </a:rPr>
                <a:t>XX.XX.20XX</a:t>
              </a:r>
              <a:endParaRPr lang="zh-CN" altLang="en-US" sz="14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F9F84BA1-8ECA-5CD7-1940-71AD599678F9}"/>
                </a:ext>
              </a:extLst>
            </p:cNvPr>
            <p:cNvSpPr/>
            <p:nvPr/>
          </p:nvSpPr>
          <p:spPr>
            <a:xfrm>
              <a:off x="4705028" y="4751931"/>
              <a:ext cx="218842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400" dirty="0">
                  <a:solidFill>
                    <a:schemeClr val="bg1"/>
                  </a:solidFill>
                  <a:cs typeface="+mn-ea"/>
                  <a:sym typeface="+mn-lt"/>
                </a:rPr>
                <a:t>Report </a:t>
              </a:r>
              <a:r>
                <a:rPr lang="zh-CN" altLang="en-US" sz="1400" dirty="0">
                  <a:solidFill>
                    <a:schemeClr val="bg1"/>
                  </a:solidFill>
                  <a:cs typeface="+mn-ea"/>
                  <a:sym typeface="+mn-lt"/>
                </a:rPr>
                <a:t>：</a:t>
              </a:r>
              <a:r>
                <a:rPr lang="en-US" altLang="zh-CN" sz="1400" dirty="0">
                  <a:solidFill>
                    <a:schemeClr val="bg1"/>
                  </a:solidFill>
                  <a:cs typeface="+mn-ea"/>
                  <a:sym typeface="+mn-lt"/>
                </a:rPr>
                <a:t>freeppt7.com</a:t>
              </a:r>
              <a:endParaRPr lang="zh-CN" altLang="en-US" sz="14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359" y="125791"/>
            <a:ext cx="3406019" cy="2099733"/>
          </a:xfrm>
        </p:spPr>
      </p:pic>
      <p:pic>
        <p:nvPicPr>
          <p:cNvPr id="5" name="图片占位符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5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331" y="125791"/>
            <a:ext cx="3406019" cy="2099733"/>
          </a:xfrm>
        </p:spPr>
      </p:pic>
      <p:pic>
        <p:nvPicPr>
          <p:cNvPr id="9" name="图片占位符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6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330" y="2356153"/>
            <a:ext cx="3406019" cy="2099733"/>
          </a:xfrm>
        </p:spPr>
      </p:pic>
      <p:pic>
        <p:nvPicPr>
          <p:cNvPr id="17" name="图片占位符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9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8301" y="2356153"/>
            <a:ext cx="3406019" cy="2099733"/>
          </a:xfrm>
        </p:spPr>
      </p:pic>
      <p:pic>
        <p:nvPicPr>
          <p:cNvPr id="7" name="图片占位符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3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4359" y="2356153"/>
            <a:ext cx="3406019" cy="2099733"/>
          </a:xfrm>
        </p:spPr>
      </p:pic>
      <p:pic>
        <p:nvPicPr>
          <p:cNvPr id="19" name="图片占位符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7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329" y="4586515"/>
            <a:ext cx="3406019" cy="2099733"/>
          </a:xfrm>
        </p:spPr>
      </p:pic>
      <p:pic>
        <p:nvPicPr>
          <p:cNvPr id="21" name="图片占位符 2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20"/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8301" y="4586515"/>
            <a:ext cx="3406019" cy="2099733"/>
          </a:xfrm>
        </p:spPr>
      </p:pic>
      <p:sp>
        <p:nvSpPr>
          <p:cNvPr id="27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1143855" y="5143500"/>
            <a:ext cx="3199545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</a:t>
            </a:r>
          </a:p>
        </p:txBody>
      </p:sp>
      <p:pic>
        <p:nvPicPr>
          <p:cNvPr id="23" name="图片 2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6557" y="205109"/>
            <a:ext cx="1217735" cy="1254414"/>
          </a:xfrm>
          <a:prstGeom prst="rect">
            <a:avLst/>
          </a:prstGeom>
        </p:spPr>
      </p:pic>
      <p:sp>
        <p:nvSpPr>
          <p:cNvPr id="29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8353119" y="1251438"/>
            <a:ext cx="2971373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 b="1"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</a:t>
            </a:r>
            <a:r>
              <a:rPr lang="en-US" altLang="zh-CN" sz="1400"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. </a:t>
            </a:r>
          </a:p>
          <a:p>
            <a:pPr>
              <a:lnSpc>
                <a:spcPct val="150000"/>
              </a:lnSpc>
            </a:pPr>
            <a:r>
              <a:rPr lang="en-US" altLang="zh-CN" sz="1400"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Insert your desired text here. Again. this is a dummy text. </a:t>
            </a: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350" y="1397001"/>
            <a:ext cx="12179300" cy="1585299"/>
          </a:xfrm>
          <a:prstGeom prst="rect">
            <a:avLst/>
          </a:prstGeom>
          <a:solidFill>
            <a:schemeClr val="accent4">
              <a:lumMod val="75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53" name="Shape 25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350" y="2982299"/>
            <a:ext cx="12179300" cy="1585299"/>
          </a:xfrm>
          <a:prstGeom prst="rect">
            <a:avLst/>
          </a:prstGeom>
          <a:solidFill>
            <a:schemeClr val="accent1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54" name="Shape 25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350" y="4567851"/>
            <a:ext cx="12179300" cy="1585299"/>
          </a:xfrm>
          <a:prstGeom prst="rect">
            <a:avLst/>
          </a:prstGeom>
          <a:solidFill>
            <a:schemeClr val="accent2"/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55" name="Shape 25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267200" y="156845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56" name="Shape 25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290806" y="159546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5760DC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57" name="Shape 25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366645" y="166789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pic>
        <p:nvPicPr>
          <p:cNvPr id="258" name="placeholder.png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366583" y="167007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59" name="Shape 25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68784" y="1654642"/>
            <a:ext cx="1790555" cy="297517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l">
              <a:defRPr sz="1800"/>
            </a:pPr>
            <a:r>
              <a:rPr sz="1600" b="1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Graphic</a:t>
            </a:r>
            <a:r>
              <a:rPr sz="16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 Designer</a:t>
            </a:r>
          </a:p>
        </p:txBody>
      </p:sp>
      <p:sp>
        <p:nvSpPr>
          <p:cNvPr id="261" name="Shape 26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71227" y="3245317"/>
            <a:ext cx="1615827" cy="297517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l">
              <a:defRPr sz="1800"/>
            </a:pPr>
            <a:r>
              <a:rPr sz="1600" b="1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Web </a:t>
            </a:r>
            <a:r>
              <a:rPr sz="16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Developer</a:t>
            </a:r>
          </a:p>
        </p:txBody>
      </p:sp>
      <p:sp>
        <p:nvSpPr>
          <p:cNvPr id="263" name="Shape 26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68350" y="4826467"/>
            <a:ext cx="1726435" cy="297517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/>
          <a:p>
            <a:pPr lvl="0" algn="l">
              <a:defRPr sz="1800"/>
            </a:pPr>
            <a:r>
              <a:rPr sz="1600" b="1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roject </a:t>
            </a:r>
            <a:r>
              <a:rPr sz="16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Manager</a:t>
            </a:r>
          </a:p>
        </p:txBody>
      </p:sp>
      <p:sp>
        <p:nvSpPr>
          <p:cNvPr id="265" name="Shape 26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575300" y="19582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jialuo</a:t>
            </a:r>
            <a:endParaRPr lang="en-US" sz="1200" dirty="0">
              <a:solidFill>
                <a:schemeClr val="bg1"/>
              </a:solidFill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266" name="Shape 26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470650" y="156845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67" name="Shape 26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494256" y="159546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5760DC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68" name="Shape 26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570095" y="166789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pic>
        <p:nvPicPr>
          <p:cNvPr id="269" name="placeholder.png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570033" y="167007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71" name="Shape 27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680450" y="156845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72" name="Shape 27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704057" y="159546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5760DC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73" name="Shape 27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779895" y="166789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pic>
        <p:nvPicPr>
          <p:cNvPr id="274" name="placeholder.png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779833" y="167007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76" name="Shape 27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flipH="1">
            <a:off x="6248400" y="155575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 dirty="0"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277" name="Shape 27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flipH="1">
            <a:off x="8458200" y="155575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 dirty="0"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278" name="Shape 27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267200" y="31623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79" name="Shape 27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290806" y="31893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42A3E8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80" name="Shape 28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366645" y="32617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pic>
        <p:nvPicPr>
          <p:cNvPr id="281" name="placeholder.png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366583" y="32639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83" name="Shape 28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470650" y="31623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84" name="Shape 28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494256" y="31893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42A3E8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85" name="Shape 28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570095" y="32617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pic>
        <p:nvPicPr>
          <p:cNvPr id="286" name="placeholder.png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570033" y="32639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88" name="Shape 28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680450" y="31623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89" name="Shape 28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704057" y="31893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42A3E8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90" name="Shape 29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779895" y="32617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pic>
        <p:nvPicPr>
          <p:cNvPr id="291" name="placeholder.png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779833" y="32639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293" name="Shape 29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flipH="1">
            <a:off x="6248400" y="314960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 dirty="0"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294" name="Shape 29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flipH="1">
            <a:off x="8458200" y="314960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 dirty="0"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295" name="Shape 29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267200" y="47371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96" name="Shape 29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290806" y="47641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2DCBA1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297" name="Shape 29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366645" y="48365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pic>
        <p:nvPicPr>
          <p:cNvPr id="298" name="placeholder.png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366583" y="48387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300" name="Shape 30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470650" y="47371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301" name="Shape 30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494256" y="47641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2DCBA1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302" name="Shape 30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570095" y="48365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pic>
        <p:nvPicPr>
          <p:cNvPr id="303" name="placeholder.png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570033" y="48387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305" name="Shape 30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680450" y="4737100"/>
            <a:ext cx="1238250" cy="123825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gradFill>
            <a:gsLst>
              <a:gs pos="0">
                <a:schemeClr val="accent3"/>
              </a:gs>
              <a:gs pos="26313">
                <a:schemeClr val="accent4"/>
              </a:gs>
              <a:gs pos="50259">
                <a:schemeClr val="accent5"/>
              </a:gs>
              <a:gs pos="100000">
                <a:schemeClr val="accent6"/>
              </a:gs>
            </a:gsLst>
            <a:lin ang="16380000"/>
          </a:gradFill>
          <a:ln w="635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306" name="Shape 30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704057" y="4764116"/>
            <a:ext cx="1187630" cy="11876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</a:path>
            </a:pathLst>
          </a:custGeom>
          <a:solidFill>
            <a:srgbClr val="2DCBA1"/>
          </a:solidFill>
          <a:ln w="25400"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sp>
        <p:nvSpPr>
          <p:cNvPr id="307" name="Shape 30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779895" y="4836545"/>
            <a:ext cx="1039360" cy="103936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7" y="2882"/>
                </a:moveTo>
                <a:cubicBezTo>
                  <a:pt x="20639" y="6724"/>
                  <a:pt x="20639" y="12954"/>
                  <a:pt x="16797" y="16797"/>
                </a:cubicBezTo>
                <a:cubicBezTo>
                  <a:pt x="12954" y="20639"/>
                  <a:pt x="6724" y="20639"/>
                  <a:pt x="2882" y="16797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7" y="2882"/>
                </a:cubicBezTo>
              </a:path>
            </a:pathLst>
          </a:custGeom>
          <a:solidFill>
            <a:srgbClr val="EBEBEB"/>
          </a:solidFill>
          <a:ln w="25400">
            <a:solidFill>
              <a:srgbClr val="000000">
                <a:alpha val="0"/>
              </a:srgbClr>
            </a:solidFill>
            <a:miter lim="400000"/>
          </a:ln>
          <a:effectLst>
            <a:outerShdw blurRad="127000" dir="2700000" rotWithShape="0">
              <a:srgbClr val="000000">
                <a:alpha val="11000"/>
              </a:srgbClr>
            </a:outerShdw>
          </a:effectLst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cs typeface="等线" panose="02010600030101010101" charset="-122"/>
            </a:endParaRPr>
          </a:p>
        </p:txBody>
      </p:sp>
      <p:pic>
        <p:nvPicPr>
          <p:cNvPr id="308" name="placeholder.png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8779833" y="4838728"/>
            <a:ext cx="1039432" cy="1037242"/>
          </a:xfrm>
          <a:prstGeom prst="rect">
            <a:avLst/>
          </a:prstGeom>
          <a:ln w="12700">
            <a:miter lim="400000"/>
          </a:ln>
        </p:spPr>
      </p:pic>
      <p:sp>
        <p:nvSpPr>
          <p:cNvPr id="310" name="Shape 3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flipH="1">
            <a:off x="6248400" y="472440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 dirty="0"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311" name="Shape 31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flipH="1">
            <a:off x="8458200" y="4724400"/>
            <a:ext cx="0" cy="1264416"/>
          </a:xfrm>
          <a:prstGeom prst="line">
            <a:avLst/>
          </a:prstGeom>
          <a:ln w="12700">
            <a:solidFill>
              <a:schemeClr val="bg1">
                <a:lumMod val="95000"/>
                <a:alpha val="4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 dirty="0"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pic>
        <p:nvPicPr>
          <p:cNvPr id="11" name="图片占位符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2" name="图片占位符 1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1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3" name="图片占位符 1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2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4" name="图片占位符 1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3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5" name="图片占位符 1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4"/>
          </p:nvPr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6" name="图片占位符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5"/>
          </p:nvPr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7" name="图片占位符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6"/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8" name="图片占位符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7"/>
          </p:nvPr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9" name="图片占位符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8"/>
          </p:nvPr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74" name="Shape 24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06509" y="421988"/>
            <a:ext cx="3534668" cy="605294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>
            <a:lvl1pPr algn="l">
              <a:defRPr sz="4000" b="1">
                <a:solidFill>
                  <a:srgbClr val="232323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Meet </a:t>
            </a:r>
            <a:r>
              <a:rPr lang="en-US"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Our Team</a:t>
            </a:r>
            <a:endParaRPr sz="360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76" name="Rectangle 3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88177" y="1968972"/>
            <a:ext cx="303913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200" dirty="0">
                <a:solidFill>
                  <a:schemeClr val="bg1"/>
                </a:solidFill>
                <a:cs typeface="等线" panose="02010600030101010101" charset="-122"/>
              </a:rPr>
              <a:t>This is a sample text. insert your desired text here. Again. this is a dummy text. enter your own text here. </a:t>
            </a:r>
          </a:p>
        </p:txBody>
      </p:sp>
      <p:sp>
        <p:nvSpPr>
          <p:cNvPr id="77" name="Rectangle 3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07227" y="3569172"/>
            <a:ext cx="303913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200" dirty="0">
                <a:solidFill>
                  <a:schemeClr val="bg1"/>
                </a:solidFill>
                <a:cs typeface="等线" panose="02010600030101010101" charset="-122"/>
              </a:rPr>
              <a:t>This is a sample text. insert your desired text here. Again. this is a dummy text. enter your own text here. </a:t>
            </a:r>
          </a:p>
        </p:txBody>
      </p:sp>
      <p:sp>
        <p:nvSpPr>
          <p:cNvPr id="78" name="Rectangle 3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88177" y="5188422"/>
            <a:ext cx="3039133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200" dirty="0">
                <a:solidFill>
                  <a:schemeClr val="bg1"/>
                </a:solidFill>
                <a:cs typeface="等线" panose="02010600030101010101" charset="-122"/>
              </a:rPr>
              <a:t>This is a sample text. insert your desired text here. Again. this is a dummy text. enter your own text here. </a:t>
            </a:r>
          </a:p>
        </p:txBody>
      </p:sp>
      <p:sp>
        <p:nvSpPr>
          <p:cNvPr id="79" name="Shape 26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804150" y="19582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jialuo</a:t>
            </a:r>
            <a:endParaRPr lang="en-US" sz="1200" dirty="0">
              <a:solidFill>
                <a:schemeClr val="bg1"/>
              </a:solidFill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80" name="Shape 26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033000" y="19582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jialuo</a:t>
            </a:r>
            <a:endParaRPr lang="en-US" sz="1200" dirty="0">
              <a:solidFill>
                <a:schemeClr val="bg1"/>
              </a:solidFill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81" name="Shape 26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594350" y="3596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jialuo</a:t>
            </a:r>
            <a:endParaRPr lang="en-US" sz="1200" dirty="0">
              <a:solidFill>
                <a:schemeClr val="bg1"/>
              </a:solidFill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82" name="Shape 26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823200" y="3596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jialuo</a:t>
            </a:r>
            <a:endParaRPr lang="en-US" sz="1200" dirty="0">
              <a:solidFill>
                <a:schemeClr val="bg1"/>
              </a:solidFill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83" name="Shape 26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052050" y="3596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jialuo</a:t>
            </a:r>
            <a:endParaRPr lang="en-US" sz="1200" dirty="0">
              <a:solidFill>
                <a:schemeClr val="bg1"/>
              </a:solidFill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84" name="Shape 26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613400" y="5120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jialuo</a:t>
            </a:r>
            <a:endParaRPr lang="en-US" sz="1200" dirty="0">
              <a:solidFill>
                <a:schemeClr val="bg1"/>
              </a:solidFill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85" name="Shape 26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842250" y="5120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jialuo</a:t>
            </a:r>
            <a:endParaRPr lang="en-US" sz="1200" dirty="0">
              <a:solidFill>
                <a:schemeClr val="bg1"/>
              </a:solidFill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86" name="Shape 26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071100" y="5120512"/>
            <a:ext cx="800100" cy="420628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lang="en-US" altLang="zh-CN" sz="12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HEI</a:t>
            </a:r>
          </a:p>
          <a:p>
            <a:pPr lvl="0">
              <a:defRPr sz="1800"/>
            </a:pPr>
            <a:r>
              <a:rPr lang="en-US" altLang="zh-CN" sz="1200" dirty="0" err="1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jialuo</a:t>
            </a:r>
            <a:endParaRPr lang="en-US" sz="1200" dirty="0">
              <a:solidFill>
                <a:schemeClr val="bg1"/>
              </a:solidFill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73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1"/>
            </p:custDataLst>
          </p:nvPr>
        </p:nvSpPr>
        <p:spPr>
          <a:xfrm>
            <a:off x="545412" y="902857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pic>
        <p:nvPicPr>
          <p:cNvPr id="75" name="Picture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886247" y="936391"/>
            <a:ext cx="874828" cy="694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759171" y="5000176"/>
            <a:ext cx="2359940" cy="721577"/>
            <a:chOff x="2223630" y="4925036"/>
            <a:chExt cx="2359940" cy="721577"/>
          </a:xfrm>
        </p:grpSpPr>
        <p:sp>
          <p:nvSpPr>
            <p:cNvPr id="17" name="TextBox 16"/>
            <p:cNvSpPr txBox="1"/>
            <p:nvPr/>
          </p:nvSpPr>
          <p:spPr>
            <a:xfrm>
              <a:off x="2534356" y="4925036"/>
              <a:ext cx="1738489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altLang="zh-CN" sz="2400" dirty="0">
                  <a:solidFill>
                    <a:schemeClr val="bg1"/>
                  </a:solidFill>
                  <a:latin typeface="+mj-lt"/>
                  <a:cs typeface="等线" panose="02010600030101010101" charset="-122"/>
                </a:rPr>
                <a:t>HEIJAILUO</a:t>
              </a:r>
              <a:endParaRPr lang="en-US" sz="2400" dirty="0">
                <a:solidFill>
                  <a:schemeClr val="bg1"/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223630" y="5318895"/>
              <a:ext cx="2359940" cy="327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400" i="1" dirty="0">
                  <a:solidFill>
                    <a:schemeClr val="bg1"/>
                  </a:solidFill>
                  <a:cs typeface="等线" panose="02010600030101010101" charset="-122"/>
                </a:rPr>
                <a:t>CEO</a:t>
              </a:r>
            </a:p>
          </p:txBody>
        </p:sp>
      </p:grpSp>
      <p:sp>
        <p:nvSpPr>
          <p:cNvPr id="19" name="TextBox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099301" y="1516748"/>
            <a:ext cx="40270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等线" panose="02010600030101010101" charset="-122"/>
              </a:rPr>
              <a:t>Meet Our Leader</a:t>
            </a:r>
          </a:p>
        </p:txBody>
      </p:sp>
      <p:sp>
        <p:nvSpPr>
          <p:cNvPr id="25" name="TextBox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096000" y="1174035"/>
            <a:ext cx="3941081" cy="3681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600" dirty="0">
                <a:solidFill>
                  <a:schemeClr val="accent1"/>
                </a:solidFill>
                <a:latin typeface="+mj-lt"/>
                <a:cs typeface="等线" panose="02010600030101010101" charset="-122"/>
              </a:rPr>
              <a:t>Your Text Here</a:t>
            </a:r>
          </a:p>
        </p:txBody>
      </p:sp>
      <p:sp>
        <p:nvSpPr>
          <p:cNvPr id="47" name="Rectangle: Rounded Corners 4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185283" y="4165575"/>
            <a:ext cx="1341940" cy="1341939"/>
          </a:xfrm>
          <a:prstGeom prst="roundRect">
            <a:avLst>
              <a:gd name="adj" fmla="val 6896"/>
            </a:avLst>
          </a:prstGeom>
          <a:solidFill>
            <a:schemeClr val="bg1"/>
          </a:solidFill>
          <a:ln w="63500">
            <a:noFill/>
          </a:ln>
          <a:effectLst>
            <a:outerShdw blurRad="381000" dist="762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sp>
        <p:nvSpPr>
          <p:cNvPr id="48" name="Rectangle: Rounded Corners 4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789112" y="4165574"/>
            <a:ext cx="1341940" cy="1341939"/>
          </a:xfrm>
          <a:prstGeom prst="roundRect">
            <a:avLst>
              <a:gd name="adj" fmla="val 6896"/>
            </a:avLst>
          </a:prstGeom>
          <a:solidFill>
            <a:schemeClr val="accent1"/>
          </a:solidFill>
          <a:ln w="63500">
            <a:noFill/>
          </a:ln>
          <a:effectLst>
            <a:outerShdw blurRad="381000" dist="762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sp>
        <p:nvSpPr>
          <p:cNvPr id="49" name="Rectangle: Rounded Corners 4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392941" y="4165573"/>
            <a:ext cx="1341940" cy="1341939"/>
          </a:xfrm>
          <a:prstGeom prst="roundRect">
            <a:avLst>
              <a:gd name="adj" fmla="val 6896"/>
            </a:avLst>
          </a:prstGeom>
          <a:solidFill>
            <a:schemeClr val="bg1"/>
          </a:solidFill>
          <a:ln w="63500">
            <a:noFill/>
          </a:ln>
          <a:effectLst>
            <a:outerShdw blurRad="381000" dist="762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grpSp>
        <p:nvGrpSpPr>
          <p:cNvPr id="6" name="Group 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185283" y="4349255"/>
            <a:ext cx="1341940" cy="1035821"/>
            <a:chOff x="6185283" y="4349255"/>
            <a:chExt cx="1341940" cy="1035821"/>
          </a:xfrm>
        </p:grpSpPr>
        <p:sp>
          <p:nvSpPr>
            <p:cNvPr id="50" name="TextBox 49"/>
            <p:cNvSpPr txBox="1"/>
            <p:nvPr/>
          </p:nvSpPr>
          <p:spPr>
            <a:xfrm>
              <a:off x="6185283" y="4904945"/>
              <a:ext cx="1341940" cy="48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Sed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t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perspiciat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nde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omn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.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6185283" y="4617673"/>
              <a:ext cx="1341940" cy="3681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等线" panose="02010600030101010101" charset="-122"/>
                </a:rPr>
                <a:t>90%</a:t>
              </a:r>
            </a:p>
          </p:txBody>
        </p:sp>
        <p:sp>
          <p:nvSpPr>
            <p:cNvPr id="56" name="Freeform 39"/>
            <p:cNvSpPr>
              <a:spLocks noEditPoints="1"/>
            </p:cNvSpPr>
            <p:nvPr/>
          </p:nvSpPr>
          <p:spPr bwMode="auto">
            <a:xfrm>
              <a:off x="6731624" y="4349255"/>
              <a:ext cx="249259" cy="236254"/>
            </a:xfrm>
            <a:custGeom>
              <a:avLst/>
              <a:gdLst>
                <a:gd name="T0" fmla="*/ 152 w 192"/>
                <a:gd name="T1" fmla="*/ 184 h 184"/>
                <a:gd name="T2" fmla="*/ 151 w 192"/>
                <a:gd name="T3" fmla="*/ 183 h 184"/>
                <a:gd name="T4" fmla="*/ 96 w 192"/>
                <a:gd name="T5" fmla="*/ 154 h 184"/>
                <a:gd name="T6" fmla="*/ 41 w 192"/>
                <a:gd name="T7" fmla="*/ 183 h 184"/>
                <a:gd name="T8" fmla="*/ 37 w 192"/>
                <a:gd name="T9" fmla="*/ 183 h 184"/>
                <a:gd name="T10" fmla="*/ 35 w 192"/>
                <a:gd name="T11" fmla="*/ 179 h 184"/>
                <a:gd name="T12" fmla="*/ 46 w 192"/>
                <a:gd name="T13" fmla="*/ 118 h 184"/>
                <a:gd name="T14" fmla="*/ 1 w 192"/>
                <a:gd name="T15" fmla="*/ 74 h 184"/>
                <a:gd name="T16" fmla="*/ 0 w 192"/>
                <a:gd name="T17" fmla="*/ 70 h 184"/>
                <a:gd name="T18" fmla="*/ 3 w 192"/>
                <a:gd name="T19" fmla="*/ 67 h 184"/>
                <a:gd name="T20" fmla="*/ 65 w 192"/>
                <a:gd name="T21" fmla="*/ 58 h 184"/>
                <a:gd name="T22" fmla="*/ 92 w 192"/>
                <a:gd name="T23" fmla="*/ 3 h 184"/>
                <a:gd name="T24" fmla="*/ 99 w 192"/>
                <a:gd name="T25" fmla="*/ 3 h 184"/>
                <a:gd name="T26" fmla="*/ 127 w 192"/>
                <a:gd name="T27" fmla="*/ 58 h 184"/>
                <a:gd name="T28" fmla="*/ 188 w 192"/>
                <a:gd name="T29" fmla="*/ 67 h 184"/>
                <a:gd name="T30" fmla="*/ 191 w 192"/>
                <a:gd name="T31" fmla="*/ 70 h 184"/>
                <a:gd name="T32" fmla="*/ 190 w 192"/>
                <a:gd name="T33" fmla="*/ 74 h 184"/>
                <a:gd name="T34" fmla="*/ 146 w 192"/>
                <a:gd name="T35" fmla="*/ 118 h 184"/>
                <a:gd name="T36" fmla="*/ 156 w 192"/>
                <a:gd name="T37" fmla="*/ 179 h 184"/>
                <a:gd name="T38" fmla="*/ 155 w 192"/>
                <a:gd name="T39" fmla="*/ 183 h 184"/>
                <a:gd name="T40" fmla="*/ 152 w 192"/>
                <a:gd name="T41" fmla="*/ 184 h 184"/>
                <a:gd name="T42" fmla="*/ 96 w 192"/>
                <a:gd name="T43" fmla="*/ 146 h 184"/>
                <a:gd name="T44" fmla="*/ 98 w 192"/>
                <a:gd name="T45" fmla="*/ 146 h 184"/>
                <a:gd name="T46" fmla="*/ 147 w 192"/>
                <a:gd name="T47" fmla="*/ 172 h 184"/>
                <a:gd name="T48" fmla="*/ 138 w 192"/>
                <a:gd name="T49" fmla="*/ 117 h 184"/>
                <a:gd name="T50" fmla="*/ 139 w 192"/>
                <a:gd name="T51" fmla="*/ 113 h 184"/>
                <a:gd name="T52" fmla="*/ 179 w 192"/>
                <a:gd name="T53" fmla="*/ 74 h 184"/>
                <a:gd name="T54" fmla="*/ 123 w 192"/>
                <a:gd name="T55" fmla="*/ 66 h 184"/>
                <a:gd name="T56" fmla="*/ 120 w 192"/>
                <a:gd name="T57" fmla="*/ 64 h 184"/>
                <a:gd name="T58" fmla="*/ 96 w 192"/>
                <a:gd name="T59" fmla="*/ 14 h 184"/>
                <a:gd name="T60" fmla="*/ 71 w 192"/>
                <a:gd name="T61" fmla="*/ 64 h 184"/>
                <a:gd name="T62" fmla="*/ 68 w 192"/>
                <a:gd name="T63" fmla="*/ 66 h 184"/>
                <a:gd name="T64" fmla="*/ 13 w 192"/>
                <a:gd name="T65" fmla="*/ 74 h 184"/>
                <a:gd name="T66" fmla="*/ 53 w 192"/>
                <a:gd name="T67" fmla="*/ 113 h 184"/>
                <a:gd name="T68" fmla="*/ 54 w 192"/>
                <a:gd name="T69" fmla="*/ 117 h 184"/>
                <a:gd name="T70" fmla="*/ 44 w 192"/>
                <a:gd name="T71" fmla="*/ 172 h 184"/>
                <a:gd name="T72" fmla="*/ 94 w 192"/>
                <a:gd name="T73" fmla="*/ 146 h 184"/>
                <a:gd name="T74" fmla="*/ 96 w 192"/>
                <a:gd name="T75" fmla="*/ 14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84">
                  <a:moveTo>
                    <a:pt x="152" y="184"/>
                  </a:moveTo>
                  <a:cubicBezTo>
                    <a:pt x="152" y="184"/>
                    <a:pt x="151" y="183"/>
                    <a:pt x="151" y="183"/>
                  </a:cubicBezTo>
                  <a:cubicBezTo>
                    <a:pt x="96" y="154"/>
                    <a:pt x="96" y="154"/>
                    <a:pt x="96" y="154"/>
                  </a:cubicBezTo>
                  <a:cubicBezTo>
                    <a:pt x="41" y="183"/>
                    <a:pt x="41" y="183"/>
                    <a:pt x="41" y="183"/>
                  </a:cubicBezTo>
                  <a:cubicBezTo>
                    <a:pt x="40" y="184"/>
                    <a:pt x="38" y="184"/>
                    <a:pt x="37" y="183"/>
                  </a:cubicBezTo>
                  <a:cubicBezTo>
                    <a:pt x="35" y="182"/>
                    <a:pt x="35" y="180"/>
                    <a:pt x="35" y="179"/>
                  </a:cubicBezTo>
                  <a:cubicBezTo>
                    <a:pt x="46" y="118"/>
                    <a:pt x="46" y="118"/>
                    <a:pt x="46" y="118"/>
                  </a:cubicBezTo>
                  <a:cubicBezTo>
                    <a:pt x="1" y="74"/>
                    <a:pt x="1" y="74"/>
                    <a:pt x="1" y="74"/>
                  </a:cubicBezTo>
                  <a:cubicBezTo>
                    <a:pt x="0" y="73"/>
                    <a:pt x="0" y="72"/>
                    <a:pt x="0" y="70"/>
                  </a:cubicBezTo>
                  <a:cubicBezTo>
                    <a:pt x="1" y="69"/>
                    <a:pt x="2" y="68"/>
                    <a:pt x="3" y="67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3" y="0"/>
                    <a:pt x="98" y="0"/>
                    <a:pt x="99" y="3"/>
                  </a:cubicBezTo>
                  <a:cubicBezTo>
                    <a:pt x="127" y="58"/>
                    <a:pt x="127" y="58"/>
                    <a:pt x="127" y="58"/>
                  </a:cubicBezTo>
                  <a:cubicBezTo>
                    <a:pt x="188" y="67"/>
                    <a:pt x="188" y="67"/>
                    <a:pt x="188" y="67"/>
                  </a:cubicBezTo>
                  <a:cubicBezTo>
                    <a:pt x="190" y="68"/>
                    <a:pt x="191" y="69"/>
                    <a:pt x="191" y="70"/>
                  </a:cubicBezTo>
                  <a:cubicBezTo>
                    <a:pt x="192" y="72"/>
                    <a:pt x="191" y="73"/>
                    <a:pt x="190" y="74"/>
                  </a:cubicBezTo>
                  <a:cubicBezTo>
                    <a:pt x="146" y="118"/>
                    <a:pt x="146" y="118"/>
                    <a:pt x="146" y="118"/>
                  </a:cubicBezTo>
                  <a:cubicBezTo>
                    <a:pt x="156" y="179"/>
                    <a:pt x="156" y="179"/>
                    <a:pt x="156" y="179"/>
                  </a:cubicBezTo>
                  <a:cubicBezTo>
                    <a:pt x="157" y="180"/>
                    <a:pt x="156" y="182"/>
                    <a:pt x="155" y="183"/>
                  </a:cubicBezTo>
                  <a:cubicBezTo>
                    <a:pt x="154" y="183"/>
                    <a:pt x="153" y="184"/>
                    <a:pt x="152" y="184"/>
                  </a:cubicBezTo>
                  <a:close/>
                  <a:moveTo>
                    <a:pt x="96" y="146"/>
                  </a:moveTo>
                  <a:cubicBezTo>
                    <a:pt x="96" y="146"/>
                    <a:pt x="97" y="146"/>
                    <a:pt x="98" y="146"/>
                  </a:cubicBezTo>
                  <a:cubicBezTo>
                    <a:pt x="147" y="172"/>
                    <a:pt x="147" y="172"/>
                    <a:pt x="147" y="172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37" y="116"/>
                    <a:pt x="138" y="114"/>
                    <a:pt x="139" y="113"/>
                  </a:cubicBezTo>
                  <a:cubicBezTo>
                    <a:pt x="179" y="74"/>
                    <a:pt x="179" y="74"/>
                    <a:pt x="179" y="74"/>
                  </a:cubicBezTo>
                  <a:cubicBezTo>
                    <a:pt x="123" y="66"/>
                    <a:pt x="123" y="66"/>
                    <a:pt x="123" y="66"/>
                  </a:cubicBezTo>
                  <a:cubicBezTo>
                    <a:pt x="122" y="66"/>
                    <a:pt x="121" y="65"/>
                    <a:pt x="120" y="64"/>
                  </a:cubicBezTo>
                  <a:cubicBezTo>
                    <a:pt x="96" y="14"/>
                    <a:pt x="96" y="14"/>
                    <a:pt x="96" y="14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0" y="65"/>
                    <a:pt x="69" y="66"/>
                    <a:pt x="68" y="66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53" y="113"/>
                    <a:pt x="53" y="113"/>
                    <a:pt x="53" y="113"/>
                  </a:cubicBezTo>
                  <a:cubicBezTo>
                    <a:pt x="54" y="114"/>
                    <a:pt x="54" y="116"/>
                    <a:pt x="54" y="117"/>
                  </a:cubicBezTo>
                  <a:cubicBezTo>
                    <a:pt x="44" y="172"/>
                    <a:pt x="44" y="172"/>
                    <a:pt x="44" y="172"/>
                  </a:cubicBezTo>
                  <a:cubicBezTo>
                    <a:pt x="94" y="146"/>
                    <a:pt x="94" y="146"/>
                    <a:pt x="94" y="146"/>
                  </a:cubicBezTo>
                  <a:cubicBezTo>
                    <a:pt x="94" y="146"/>
                    <a:pt x="95" y="146"/>
                    <a:pt x="96" y="14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5" name="Group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9392941" y="4329748"/>
            <a:ext cx="1341940" cy="1055328"/>
            <a:chOff x="9392941" y="4329748"/>
            <a:chExt cx="1341940" cy="1055328"/>
          </a:xfrm>
        </p:grpSpPr>
        <p:sp>
          <p:nvSpPr>
            <p:cNvPr id="52" name="TextBox 51"/>
            <p:cNvSpPr txBox="1"/>
            <p:nvPr/>
          </p:nvSpPr>
          <p:spPr>
            <a:xfrm>
              <a:off x="9392941" y="4904945"/>
              <a:ext cx="1341940" cy="48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Sed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t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perspiciat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nde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omn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.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392941" y="4617673"/>
              <a:ext cx="1341940" cy="3681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等线" panose="02010600030101010101" charset="-122"/>
                </a:rPr>
                <a:t>85%</a:t>
              </a:r>
            </a:p>
          </p:txBody>
        </p:sp>
        <p:sp>
          <p:nvSpPr>
            <p:cNvPr id="57" name="Freeform 190"/>
            <p:cNvSpPr>
              <a:spLocks noEditPoints="1"/>
            </p:cNvSpPr>
            <p:nvPr/>
          </p:nvSpPr>
          <p:spPr bwMode="auto">
            <a:xfrm>
              <a:off x="9913272" y="4329748"/>
              <a:ext cx="301278" cy="275269"/>
            </a:xfrm>
            <a:custGeom>
              <a:avLst/>
              <a:gdLst>
                <a:gd name="T0" fmla="*/ 100 w 232"/>
                <a:gd name="T1" fmla="*/ 95 h 212"/>
                <a:gd name="T2" fmla="*/ 76 w 232"/>
                <a:gd name="T3" fmla="*/ 85 h 212"/>
                <a:gd name="T4" fmla="*/ 37 w 232"/>
                <a:gd name="T5" fmla="*/ 104 h 212"/>
                <a:gd name="T6" fmla="*/ 20 w 232"/>
                <a:gd name="T7" fmla="*/ 121 h 212"/>
                <a:gd name="T8" fmla="*/ 0 w 232"/>
                <a:gd name="T9" fmla="*/ 160 h 212"/>
                <a:gd name="T10" fmla="*/ 10 w 232"/>
                <a:gd name="T11" fmla="*/ 185 h 212"/>
                <a:gd name="T12" fmla="*/ 52 w 232"/>
                <a:gd name="T13" fmla="*/ 199 h 212"/>
                <a:gd name="T14" fmla="*/ 76 w 232"/>
                <a:gd name="T15" fmla="*/ 199 h 212"/>
                <a:gd name="T16" fmla="*/ 117 w 232"/>
                <a:gd name="T17" fmla="*/ 185 h 212"/>
                <a:gd name="T18" fmla="*/ 127 w 232"/>
                <a:gd name="T19" fmla="*/ 160 h 212"/>
                <a:gd name="T20" fmla="*/ 108 w 232"/>
                <a:gd name="T21" fmla="*/ 121 h 212"/>
                <a:gd name="T22" fmla="*/ 107 w 232"/>
                <a:gd name="T23" fmla="*/ 156 h 212"/>
                <a:gd name="T24" fmla="*/ 106 w 232"/>
                <a:gd name="T25" fmla="*/ 185 h 212"/>
                <a:gd name="T26" fmla="*/ 89 w 232"/>
                <a:gd name="T27" fmla="*/ 184 h 212"/>
                <a:gd name="T28" fmla="*/ 68 w 232"/>
                <a:gd name="T29" fmla="*/ 204 h 212"/>
                <a:gd name="T30" fmla="*/ 56 w 232"/>
                <a:gd name="T31" fmla="*/ 191 h 212"/>
                <a:gd name="T32" fmla="*/ 27 w 232"/>
                <a:gd name="T33" fmla="*/ 191 h 212"/>
                <a:gd name="T34" fmla="*/ 28 w 232"/>
                <a:gd name="T35" fmla="*/ 174 h 212"/>
                <a:gd name="T36" fmla="*/ 8 w 232"/>
                <a:gd name="T37" fmla="*/ 152 h 212"/>
                <a:gd name="T38" fmla="*/ 21 w 232"/>
                <a:gd name="T39" fmla="*/ 141 h 212"/>
                <a:gd name="T40" fmla="*/ 21 w 232"/>
                <a:gd name="T41" fmla="*/ 112 h 212"/>
                <a:gd name="T42" fmla="*/ 38 w 232"/>
                <a:gd name="T43" fmla="*/ 113 h 212"/>
                <a:gd name="T44" fmla="*/ 60 w 232"/>
                <a:gd name="T45" fmla="*/ 93 h 212"/>
                <a:gd name="T46" fmla="*/ 71 w 232"/>
                <a:gd name="T47" fmla="*/ 105 h 212"/>
                <a:gd name="T48" fmla="*/ 100 w 232"/>
                <a:gd name="T49" fmla="*/ 106 h 212"/>
                <a:gd name="T50" fmla="*/ 99 w 232"/>
                <a:gd name="T51" fmla="*/ 123 h 212"/>
                <a:gd name="T52" fmla="*/ 119 w 232"/>
                <a:gd name="T53" fmla="*/ 144 h 212"/>
                <a:gd name="T54" fmla="*/ 48 w 232"/>
                <a:gd name="T55" fmla="*/ 148 h 212"/>
                <a:gd name="T56" fmla="*/ 64 w 232"/>
                <a:gd name="T57" fmla="*/ 132 h 212"/>
                <a:gd name="T58" fmla="*/ 64 w 232"/>
                <a:gd name="T59" fmla="*/ 140 h 212"/>
                <a:gd name="T60" fmla="*/ 219 w 232"/>
                <a:gd name="T61" fmla="*/ 65 h 212"/>
                <a:gd name="T62" fmla="*/ 214 w 232"/>
                <a:gd name="T63" fmla="*/ 42 h 212"/>
                <a:gd name="T64" fmla="*/ 191 w 232"/>
                <a:gd name="T65" fmla="*/ 4 h 212"/>
                <a:gd name="T66" fmla="*/ 164 w 232"/>
                <a:gd name="T67" fmla="*/ 0 h 212"/>
                <a:gd name="T68" fmla="*/ 131 w 232"/>
                <a:gd name="T69" fmla="*/ 28 h 212"/>
                <a:gd name="T70" fmla="*/ 118 w 232"/>
                <a:gd name="T71" fmla="*/ 48 h 212"/>
                <a:gd name="T72" fmla="*/ 108 w 232"/>
                <a:gd name="T73" fmla="*/ 91 h 212"/>
                <a:gd name="T74" fmla="*/ 123 w 232"/>
                <a:gd name="T75" fmla="*/ 112 h 212"/>
                <a:gd name="T76" fmla="*/ 167 w 232"/>
                <a:gd name="T77" fmla="*/ 116 h 212"/>
                <a:gd name="T78" fmla="*/ 190 w 232"/>
                <a:gd name="T79" fmla="*/ 111 h 212"/>
                <a:gd name="T80" fmla="*/ 228 w 232"/>
                <a:gd name="T81" fmla="*/ 88 h 212"/>
                <a:gd name="T82" fmla="*/ 217 w 232"/>
                <a:gd name="T83" fmla="*/ 91 h 212"/>
                <a:gd name="T84" fmla="*/ 200 w 232"/>
                <a:gd name="T85" fmla="*/ 94 h 212"/>
                <a:gd name="T86" fmla="*/ 184 w 232"/>
                <a:gd name="T87" fmla="*/ 118 h 212"/>
                <a:gd name="T88" fmla="*/ 170 w 232"/>
                <a:gd name="T89" fmla="*/ 108 h 212"/>
                <a:gd name="T90" fmla="*/ 141 w 232"/>
                <a:gd name="T91" fmla="*/ 114 h 212"/>
                <a:gd name="T92" fmla="*/ 138 w 232"/>
                <a:gd name="T93" fmla="*/ 97 h 212"/>
                <a:gd name="T94" fmla="*/ 114 w 232"/>
                <a:gd name="T95" fmla="*/ 81 h 212"/>
                <a:gd name="T96" fmla="*/ 124 w 232"/>
                <a:gd name="T97" fmla="*/ 67 h 212"/>
                <a:gd name="T98" fmla="*/ 118 w 232"/>
                <a:gd name="T99" fmla="*/ 39 h 212"/>
                <a:gd name="T100" fmla="*/ 134 w 232"/>
                <a:gd name="T101" fmla="*/ 36 h 212"/>
                <a:gd name="T102" fmla="*/ 151 w 232"/>
                <a:gd name="T103" fmla="*/ 11 h 212"/>
                <a:gd name="T104" fmla="*/ 165 w 232"/>
                <a:gd name="T105" fmla="*/ 21 h 212"/>
                <a:gd name="T106" fmla="*/ 193 w 232"/>
                <a:gd name="T107" fmla="*/ 15 h 212"/>
                <a:gd name="T108" fmla="*/ 196 w 232"/>
                <a:gd name="T109" fmla="*/ 32 h 212"/>
                <a:gd name="T110" fmla="*/ 221 w 232"/>
                <a:gd name="T111" fmla="*/ 48 h 212"/>
                <a:gd name="T112" fmla="*/ 211 w 232"/>
                <a:gd name="T113" fmla="*/ 62 h 212"/>
                <a:gd name="T114" fmla="*/ 217 w 232"/>
                <a:gd name="T115" fmla="*/ 91 h 212"/>
                <a:gd name="T116" fmla="*/ 152 w 232"/>
                <a:gd name="T117" fmla="*/ 68 h 212"/>
                <a:gd name="T118" fmla="*/ 181 w 232"/>
                <a:gd name="T119" fmla="*/ 73 h 212"/>
                <a:gd name="T120" fmla="*/ 174 w 232"/>
                <a:gd name="T121" fmla="*/ 69 h 212"/>
                <a:gd name="T122" fmla="*/ 165 w 232"/>
                <a:gd name="T123" fmla="*/ 57 h 212"/>
                <a:gd name="T124" fmla="*/ 174 w 232"/>
                <a:gd name="T125" fmla="*/ 69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1" h="211">
                  <a:moveTo>
                    <a:pt x="108" y="121"/>
                  </a:moveTo>
                  <a:cubicBezTo>
                    <a:pt x="117" y="112"/>
                    <a:pt x="117" y="112"/>
                    <a:pt x="117" y="112"/>
                  </a:cubicBezTo>
                  <a:cubicBezTo>
                    <a:pt x="100" y="95"/>
                    <a:pt x="100" y="95"/>
                    <a:pt x="100" y="95"/>
                  </a:cubicBezTo>
                  <a:cubicBezTo>
                    <a:pt x="91" y="104"/>
                    <a:pt x="91" y="104"/>
                    <a:pt x="91" y="104"/>
                  </a:cubicBezTo>
                  <a:cubicBezTo>
                    <a:pt x="86" y="101"/>
                    <a:pt x="81" y="99"/>
                    <a:pt x="76" y="98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98"/>
                    <a:pt x="52" y="98"/>
                    <a:pt x="52" y="98"/>
                  </a:cubicBezTo>
                  <a:cubicBezTo>
                    <a:pt x="46" y="99"/>
                    <a:pt x="41" y="101"/>
                    <a:pt x="37" y="104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17" y="126"/>
                    <a:pt x="15" y="131"/>
                    <a:pt x="13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5" y="166"/>
                    <a:pt x="17" y="171"/>
                    <a:pt x="20" y="175"/>
                  </a:cubicBezTo>
                  <a:cubicBezTo>
                    <a:pt x="10" y="185"/>
                    <a:pt x="10" y="185"/>
                    <a:pt x="10" y="185"/>
                  </a:cubicBezTo>
                  <a:cubicBezTo>
                    <a:pt x="27" y="202"/>
                    <a:pt x="27" y="202"/>
                    <a:pt x="27" y="202"/>
                  </a:cubicBezTo>
                  <a:cubicBezTo>
                    <a:pt x="37" y="192"/>
                    <a:pt x="37" y="192"/>
                    <a:pt x="37" y="192"/>
                  </a:cubicBezTo>
                  <a:cubicBezTo>
                    <a:pt x="41" y="195"/>
                    <a:pt x="46" y="197"/>
                    <a:pt x="52" y="199"/>
                  </a:cubicBezTo>
                  <a:cubicBezTo>
                    <a:pt x="52" y="212"/>
                    <a:pt x="52" y="212"/>
                    <a:pt x="52" y="212"/>
                  </a:cubicBezTo>
                  <a:cubicBezTo>
                    <a:pt x="76" y="212"/>
                    <a:pt x="76" y="212"/>
                    <a:pt x="76" y="212"/>
                  </a:cubicBezTo>
                  <a:cubicBezTo>
                    <a:pt x="76" y="199"/>
                    <a:pt x="76" y="199"/>
                    <a:pt x="76" y="199"/>
                  </a:cubicBezTo>
                  <a:cubicBezTo>
                    <a:pt x="81" y="197"/>
                    <a:pt x="86" y="195"/>
                    <a:pt x="91" y="192"/>
                  </a:cubicBezTo>
                  <a:cubicBezTo>
                    <a:pt x="100" y="202"/>
                    <a:pt x="100" y="202"/>
                    <a:pt x="100" y="202"/>
                  </a:cubicBezTo>
                  <a:cubicBezTo>
                    <a:pt x="117" y="185"/>
                    <a:pt x="117" y="185"/>
                    <a:pt x="117" y="185"/>
                  </a:cubicBezTo>
                  <a:cubicBezTo>
                    <a:pt x="108" y="175"/>
                    <a:pt x="108" y="175"/>
                    <a:pt x="108" y="175"/>
                  </a:cubicBezTo>
                  <a:cubicBezTo>
                    <a:pt x="111" y="171"/>
                    <a:pt x="113" y="166"/>
                    <a:pt x="114" y="160"/>
                  </a:cubicBezTo>
                  <a:cubicBezTo>
                    <a:pt x="127" y="160"/>
                    <a:pt x="127" y="160"/>
                    <a:pt x="127" y="160"/>
                  </a:cubicBezTo>
                  <a:cubicBezTo>
                    <a:pt x="127" y="136"/>
                    <a:pt x="127" y="136"/>
                    <a:pt x="127" y="136"/>
                  </a:cubicBezTo>
                  <a:cubicBezTo>
                    <a:pt x="114" y="136"/>
                    <a:pt x="114" y="136"/>
                    <a:pt x="114" y="136"/>
                  </a:cubicBezTo>
                  <a:cubicBezTo>
                    <a:pt x="113" y="131"/>
                    <a:pt x="111" y="126"/>
                    <a:pt x="108" y="121"/>
                  </a:cubicBezTo>
                  <a:close/>
                  <a:moveTo>
                    <a:pt x="119" y="152"/>
                  </a:moveTo>
                  <a:cubicBezTo>
                    <a:pt x="107" y="152"/>
                    <a:pt x="107" y="152"/>
                    <a:pt x="107" y="152"/>
                  </a:cubicBezTo>
                  <a:cubicBezTo>
                    <a:pt x="107" y="156"/>
                    <a:pt x="107" y="156"/>
                    <a:pt x="107" y="156"/>
                  </a:cubicBezTo>
                  <a:cubicBezTo>
                    <a:pt x="106" y="162"/>
                    <a:pt x="103" y="168"/>
                    <a:pt x="99" y="174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106" y="185"/>
                    <a:pt x="106" y="185"/>
                    <a:pt x="106" y="185"/>
                  </a:cubicBezTo>
                  <a:cubicBezTo>
                    <a:pt x="100" y="191"/>
                    <a:pt x="100" y="191"/>
                    <a:pt x="100" y="191"/>
                  </a:cubicBezTo>
                  <a:cubicBezTo>
                    <a:pt x="92" y="182"/>
                    <a:pt x="92" y="182"/>
                    <a:pt x="92" y="182"/>
                  </a:cubicBezTo>
                  <a:cubicBezTo>
                    <a:pt x="89" y="184"/>
                    <a:pt x="89" y="184"/>
                    <a:pt x="89" y="184"/>
                  </a:cubicBezTo>
                  <a:cubicBezTo>
                    <a:pt x="84" y="188"/>
                    <a:pt x="78" y="190"/>
                    <a:pt x="71" y="191"/>
                  </a:cubicBezTo>
                  <a:cubicBezTo>
                    <a:pt x="68" y="192"/>
                    <a:pt x="68" y="192"/>
                    <a:pt x="68" y="192"/>
                  </a:cubicBezTo>
                  <a:cubicBezTo>
                    <a:pt x="68" y="204"/>
                    <a:pt x="68" y="204"/>
                    <a:pt x="68" y="204"/>
                  </a:cubicBezTo>
                  <a:cubicBezTo>
                    <a:pt x="60" y="204"/>
                    <a:pt x="60" y="204"/>
                    <a:pt x="60" y="204"/>
                  </a:cubicBezTo>
                  <a:cubicBezTo>
                    <a:pt x="60" y="192"/>
                    <a:pt x="60" y="192"/>
                    <a:pt x="60" y="192"/>
                  </a:cubicBezTo>
                  <a:cubicBezTo>
                    <a:pt x="56" y="191"/>
                    <a:pt x="56" y="191"/>
                    <a:pt x="56" y="191"/>
                  </a:cubicBezTo>
                  <a:cubicBezTo>
                    <a:pt x="50" y="190"/>
                    <a:pt x="44" y="188"/>
                    <a:pt x="38" y="184"/>
                  </a:cubicBezTo>
                  <a:cubicBezTo>
                    <a:pt x="36" y="182"/>
                    <a:pt x="36" y="182"/>
                    <a:pt x="36" y="182"/>
                  </a:cubicBezTo>
                  <a:cubicBezTo>
                    <a:pt x="27" y="191"/>
                    <a:pt x="27" y="191"/>
                    <a:pt x="27" y="191"/>
                  </a:cubicBezTo>
                  <a:cubicBezTo>
                    <a:pt x="21" y="185"/>
                    <a:pt x="21" y="185"/>
                    <a:pt x="21" y="185"/>
                  </a:cubicBezTo>
                  <a:cubicBezTo>
                    <a:pt x="30" y="176"/>
                    <a:pt x="30" y="176"/>
                    <a:pt x="30" y="176"/>
                  </a:cubicBezTo>
                  <a:cubicBezTo>
                    <a:pt x="28" y="174"/>
                    <a:pt x="28" y="174"/>
                    <a:pt x="28" y="174"/>
                  </a:cubicBezTo>
                  <a:cubicBezTo>
                    <a:pt x="24" y="168"/>
                    <a:pt x="22" y="162"/>
                    <a:pt x="21" y="156"/>
                  </a:cubicBezTo>
                  <a:cubicBezTo>
                    <a:pt x="20" y="152"/>
                    <a:pt x="20" y="152"/>
                    <a:pt x="20" y="152"/>
                  </a:cubicBezTo>
                  <a:cubicBezTo>
                    <a:pt x="8" y="152"/>
                    <a:pt x="8" y="152"/>
                    <a:pt x="8" y="152"/>
                  </a:cubicBezTo>
                  <a:cubicBezTo>
                    <a:pt x="8" y="144"/>
                    <a:pt x="8" y="144"/>
                    <a:pt x="8" y="144"/>
                  </a:cubicBezTo>
                  <a:cubicBezTo>
                    <a:pt x="20" y="144"/>
                    <a:pt x="20" y="144"/>
                    <a:pt x="20" y="144"/>
                  </a:cubicBezTo>
                  <a:cubicBezTo>
                    <a:pt x="21" y="141"/>
                    <a:pt x="21" y="141"/>
                    <a:pt x="21" y="141"/>
                  </a:cubicBezTo>
                  <a:cubicBezTo>
                    <a:pt x="22" y="134"/>
                    <a:pt x="24" y="128"/>
                    <a:pt x="28" y="123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27" y="106"/>
                    <a:pt x="27" y="106"/>
                    <a:pt x="27" y="10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38" y="113"/>
                    <a:pt x="38" y="113"/>
                    <a:pt x="38" y="113"/>
                  </a:cubicBezTo>
                  <a:cubicBezTo>
                    <a:pt x="44" y="109"/>
                    <a:pt x="50" y="106"/>
                    <a:pt x="56" y="105"/>
                  </a:cubicBezTo>
                  <a:cubicBezTo>
                    <a:pt x="60" y="105"/>
                    <a:pt x="60" y="105"/>
                    <a:pt x="60" y="105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8" y="93"/>
                    <a:pt x="68" y="93"/>
                    <a:pt x="68" y="93"/>
                  </a:cubicBezTo>
                  <a:cubicBezTo>
                    <a:pt x="68" y="105"/>
                    <a:pt x="68" y="105"/>
                    <a:pt x="68" y="105"/>
                  </a:cubicBezTo>
                  <a:cubicBezTo>
                    <a:pt x="71" y="105"/>
                    <a:pt x="71" y="105"/>
                    <a:pt x="71" y="105"/>
                  </a:cubicBezTo>
                  <a:cubicBezTo>
                    <a:pt x="78" y="106"/>
                    <a:pt x="84" y="109"/>
                    <a:pt x="89" y="113"/>
                  </a:cubicBezTo>
                  <a:cubicBezTo>
                    <a:pt x="92" y="115"/>
                    <a:pt x="92" y="115"/>
                    <a:pt x="92" y="115"/>
                  </a:cubicBezTo>
                  <a:cubicBezTo>
                    <a:pt x="100" y="106"/>
                    <a:pt x="100" y="106"/>
                    <a:pt x="100" y="106"/>
                  </a:cubicBezTo>
                  <a:cubicBezTo>
                    <a:pt x="106" y="112"/>
                    <a:pt x="106" y="112"/>
                    <a:pt x="106" y="112"/>
                  </a:cubicBezTo>
                  <a:cubicBezTo>
                    <a:pt x="97" y="120"/>
                    <a:pt x="97" y="120"/>
                    <a:pt x="97" y="120"/>
                  </a:cubicBezTo>
                  <a:cubicBezTo>
                    <a:pt x="99" y="123"/>
                    <a:pt x="99" y="123"/>
                    <a:pt x="99" y="123"/>
                  </a:cubicBezTo>
                  <a:cubicBezTo>
                    <a:pt x="103" y="128"/>
                    <a:pt x="106" y="134"/>
                    <a:pt x="107" y="141"/>
                  </a:cubicBezTo>
                  <a:cubicBezTo>
                    <a:pt x="107" y="144"/>
                    <a:pt x="107" y="144"/>
                    <a:pt x="107" y="144"/>
                  </a:cubicBezTo>
                  <a:cubicBezTo>
                    <a:pt x="119" y="144"/>
                    <a:pt x="119" y="144"/>
                    <a:pt x="119" y="144"/>
                  </a:cubicBezTo>
                  <a:lnTo>
                    <a:pt x="119" y="152"/>
                  </a:lnTo>
                  <a:close/>
                  <a:moveTo>
                    <a:pt x="64" y="132"/>
                  </a:moveTo>
                  <a:cubicBezTo>
                    <a:pt x="55" y="132"/>
                    <a:pt x="48" y="140"/>
                    <a:pt x="48" y="148"/>
                  </a:cubicBezTo>
                  <a:cubicBezTo>
                    <a:pt x="48" y="157"/>
                    <a:pt x="55" y="164"/>
                    <a:pt x="64" y="164"/>
                  </a:cubicBezTo>
                  <a:cubicBezTo>
                    <a:pt x="72" y="164"/>
                    <a:pt x="80" y="157"/>
                    <a:pt x="80" y="148"/>
                  </a:cubicBezTo>
                  <a:cubicBezTo>
                    <a:pt x="80" y="140"/>
                    <a:pt x="72" y="132"/>
                    <a:pt x="64" y="132"/>
                  </a:cubicBezTo>
                  <a:close/>
                  <a:moveTo>
                    <a:pt x="64" y="156"/>
                  </a:moveTo>
                  <a:cubicBezTo>
                    <a:pt x="59" y="156"/>
                    <a:pt x="56" y="153"/>
                    <a:pt x="56" y="148"/>
                  </a:cubicBezTo>
                  <a:cubicBezTo>
                    <a:pt x="56" y="144"/>
                    <a:pt x="59" y="140"/>
                    <a:pt x="64" y="140"/>
                  </a:cubicBezTo>
                  <a:cubicBezTo>
                    <a:pt x="68" y="140"/>
                    <a:pt x="72" y="144"/>
                    <a:pt x="72" y="148"/>
                  </a:cubicBezTo>
                  <a:cubicBezTo>
                    <a:pt x="72" y="153"/>
                    <a:pt x="68" y="156"/>
                    <a:pt x="64" y="156"/>
                  </a:cubicBezTo>
                  <a:close/>
                  <a:moveTo>
                    <a:pt x="219" y="65"/>
                  </a:moveTo>
                  <a:cubicBezTo>
                    <a:pt x="232" y="62"/>
                    <a:pt x="232" y="62"/>
                    <a:pt x="232" y="62"/>
                  </a:cubicBezTo>
                  <a:cubicBezTo>
                    <a:pt x="227" y="39"/>
                    <a:pt x="227" y="39"/>
                    <a:pt x="227" y="39"/>
                  </a:cubicBezTo>
                  <a:cubicBezTo>
                    <a:pt x="214" y="42"/>
                    <a:pt x="214" y="42"/>
                    <a:pt x="214" y="42"/>
                  </a:cubicBezTo>
                  <a:cubicBezTo>
                    <a:pt x="211" y="37"/>
                    <a:pt x="208" y="32"/>
                    <a:pt x="204" y="28"/>
                  </a:cubicBezTo>
                  <a:cubicBezTo>
                    <a:pt x="211" y="17"/>
                    <a:pt x="211" y="17"/>
                    <a:pt x="211" y="17"/>
                  </a:cubicBezTo>
                  <a:cubicBezTo>
                    <a:pt x="191" y="4"/>
                    <a:pt x="191" y="4"/>
                    <a:pt x="191" y="4"/>
                  </a:cubicBezTo>
                  <a:cubicBezTo>
                    <a:pt x="184" y="16"/>
                    <a:pt x="184" y="16"/>
                    <a:pt x="184" y="16"/>
                  </a:cubicBezTo>
                  <a:cubicBezTo>
                    <a:pt x="178" y="14"/>
                    <a:pt x="173" y="13"/>
                    <a:pt x="167" y="13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41" y="5"/>
                    <a:pt x="141" y="5"/>
                    <a:pt x="141" y="5"/>
                  </a:cubicBezTo>
                  <a:cubicBezTo>
                    <a:pt x="144" y="18"/>
                    <a:pt x="144" y="18"/>
                    <a:pt x="144" y="18"/>
                  </a:cubicBezTo>
                  <a:cubicBezTo>
                    <a:pt x="139" y="21"/>
                    <a:pt x="135" y="24"/>
                    <a:pt x="131" y="28"/>
                  </a:cubicBezTo>
                  <a:cubicBezTo>
                    <a:pt x="119" y="21"/>
                    <a:pt x="119" y="21"/>
                    <a:pt x="119" y="2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16" y="53"/>
                    <a:pt x="116" y="59"/>
                    <a:pt x="115" y="64"/>
                  </a:cubicBezTo>
                  <a:cubicBezTo>
                    <a:pt x="102" y="67"/>
                    <a:pt x="102" y="67"/>
                    <a:pt x="102" y="67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21" y="88"/>
                    <a:pt x="121" y="88"/>
                    <a:pt x="121" y="88"/>
                  </a:cubicBezTo>
                  <a:cubicBezTo>
                    <a:pt x="123" y="93"/>
                    <a:pt x="127" y="97"/>
                    <a:pt x="130" y="101"/>
                  </a:cubicBezTo>
                  <a:cubicBezTo>
                    <a:pt x="123" y="112"/>
                    <a:pt x="123" y="112"/>
                    <a:pt x="123" y="112"/>
                  </a:cubicBezTo>
                  <a:cubicBezTo>
                    <a:pt x="144" y="125"/>
                    <a:pt x="144" y="125"/>
                    <a:pt x="144" y="125"/>
                  </a:cubicBezTo>
                  <a:cubicBezTo>
                    <a:pt x="151" y="114"/>
                    <a:pt x="151" y="114"/>
                    <a:pt x="151" y="114"/>
                  </a:cubicBezTo>
                  <a:cubicBezTo>
                    <a:pt x="156" y="115"/>
                    <a:pt x="161" y="116"/>
                    <a:pt x="167" y="116"/>
                  </a:cubicBezTo>
                  <a:cubicBezTo>
                    <a:pt x="170" y="129"/>
                    <a:pt x="170" y="129"/>
                    <a:pt x="170" y="129"/>
                  </a:cubicBezTo>
                  <a:cubicBezTo>
                    <a:pt x="193" y="124"/>
                    <a:pt x="193" y="124"/>
                    <a:pt x="193" y="124"/>
                  </a:cubicBezTo>
                  <a:cubicBezTo>
                    <a:pt x="190" y="111"/>
                    <a:pt x="190" y="111"/>
                    <a:pt x="190" y="111"/>
                  </a:cubicBezTo>
                  <a:cubicBezTo>
                    <a:pt x="195" y="109"/>
                    <a:pt x="200" y="105"/>
                    <a:pt x="204" y="101"/>
                  </a:cubicBezTo>
                  <a:cubicBezTo>
                    <a:pt x="215" y="109"/>
                    <a:pt x="215" y="109"/>
                    <a:pt x="215" y="109"/>
                  </a:cubicBezTo>
                  <a:cubicBezTo>
                    <a:pt x="228" y="88"/>
                    <a:pt x="228" y="88"/>
                    <a:pt x="228" y="88"/>
                  </a:cubicBezTo>
                  <a:cubicBezTo>
                    <a:pt x="216" y="81"/>
                    <a:pt x="216" y="81"/>
                    <a:pt x="216" y="81"/>
                  </a:cubicBezTo>
                  <a:cubicBezTo>
                    <a:pt x="218" y="76"/>
                    <a:pt x="219" y="70"/>
                    <a:pt x="219" y="65"/>
                  </a:cubicBezTo>
                  <a:close/>
                  <a:moveTo>
                    <a:pt x="217" y="91"/>
                  </a:moveTo>
                  <a:cubicBezTo>
                    <a:pt x="212" y="98"/>
                    <a:pt x="212" y="98"/>
                    <a:pt x="212" y="98"/>
                  </a:cubicBezTo>
                  <a:cubicBezTo>
                    <a:pt x="202" y="91"/>
                    <a:pt x="202" y="91"/>
                    <a:pt x="202" y="91"/>
                  </a:cubicBezTo>
                  <a:cubicBezTo>
                    <a:pt x="200" y="94"/>
                    <a:pt x="200" y="94"/>
                    <a:pt x="200" y="94"/>
                  </a:cubicBezTo>
                  <a:cubicBezTo>
                    <a:pt x="196" y="99"/>
                    <a:pt x="190" y="103"/>
                    <a:pt x="184" y="105"/>
                  </a:cubicBezTo>
                  <a:cubicBezTo>
                    <a:pt x="181" y="106"/>
                    <a:pt x="181" y="106"/>
                    <a:pt x="181" y="106"/>
                  </a:cubicBezTo>
                  <a:cubicBezTo>
                    <a:pt x="184" y="118"/>
                    <a:pt x="184" y="118"/>
                    <a:pt x="184" y="118"/>
                  </a:cubicBezTo>
                  <a:cubicBezTo>
                    <a:pt x="176" y="120"/>
                    <a:pt x="176" y="120"/>
                    <a:pt x="176" y="120"/>
                  </a:cubicBezTo>
                  <a:cubicBezTo>
                    <a:pt x="173" y="108"/>
                    <a:pt x="173" y="108"/>
                    <a:pt x="173" y="108"/>
                  </a:cubicBezTo>
                  <a:cubicBezTo>
                    <a:pt x="170" y="108"/>
                    <a:pt x="170" y="108"/>
                    <a:pt x="170" y="108"/>
                  </a:cubicBezTo>
                  <a:cubicBezTo>
                    <a:pt x="163" y="109"/>
                    <a:pt x="157" y="108"/>
                    <a:pt x="151" y="105"/>
                  </a:cubicBezTo>
                  <a:cubicBezTo>
                    <a:pt x="147" y="104"/>
                    <a:pt x="147" y="104"/>
                    <a:pt x="147" y="104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34" y="110"/>
                    <a:pt x="134" y="110"/>
                    <a:pt x="134" y="110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38" y="97"/>
                    <a:pt x="138" y="97"/>
                    <a:pt x="138" y="97"/>
                  </a:cubicBezTo>
                  <a:cubicBezTo>
                    <a:pt x="133" y="93"/>
                    <a:pt x="129" y="88"/>
                    <a:pt x="127" y="82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14" y="81"/>
                    <a:pt x="114" y="81"/>
                    <a:pt x="114" y="81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67"/>
                    <a:pt x="124" y="67"/>
                    <a:pt x="124" y="67"/>
                  </a:cubicBezTo>
                  <a:cubicBezTo>
                    <a:pt x="123" y="61"/>
                    <a:pt x="124" y="54"/>
                    <a:pt x="127" y="48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22" y="32"/>
                    <a:pt x="122" y="32"/>
                    <a:pt x="122" y="32"/>
                  </a:cubicBezTo>
                  <a:cubicBezTo>
                    <a:pt x="132" y="38"/>
                    <a:pt x="132" y="38"/>
                    <a:pt x="132" y="38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9" y="31"/>
                    <a:pt x="144" y="27"/>
                    <a:pt x="150" y="24"/>
                  </a:cubicBezTo>
                  <a:cubicBezTo>
                    <a:pt x="153" y="23"/>
                    <a:pt x="153" y="23"/>
                    <a:pt x="153" y="23"/>
                  </a:cubicBezTo>
                  <a:cubicBezTo>
                    <a:pt x="151" y="11"/>
                    <a:pt x="151" y="11"/>
                    <a:pt x="151" y="11"/>
                  </a:cubicBezTo>
                  <a:cubicBezTo>
                    <a:pt x="158" y="10"/>
                    <a:pt x="158" y="10"/>
                    <a:pt x="158" y="10"/>
                  </a:cubicBezTo>
                  <a:cubicBezTo>
                    <a:pt x="161" y="21"/>
                    <a:pt x="161" y="21"/>
                    <a:pt x="161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71" y="21"/>
                    <a:pt x="178" y="22"/>
                    <a:pt x="184" y="24"/>
                  </a:cubicBezTo>
                  <a:cubicBezTo>
                    <a:pt x="187" y="26"/>
                    <a:pt x="187" y="26"/>
                    <a:pt x="187" y="26"/>
                  </a:cubicBezTo>
                  <a:cubicBezTo>
                    <a:pt x="193" y="15"/>
                    <a:pt x="193" y="15"/>
                    <a:pt x="193" y="15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194" y="30"/>
                    <a:pt x="194" y="30"/>
                    <a:pt x="194" y="30"/>
                  </a:cubicBezTo>
                  <a:cubicBezTo>
                    <a:pt x="196" y="32"/>
                    <a:pt x="196" y="32"/>
                    <a:pt x="196" y="32"/>
                  </a:cubicBezTo>
                  <a:cubicBezTo>
                    <a:pt x="201" y="36"/>
                    <a:pt x="205" y="42"/>
                    <a:pt x="208" y="48"/>
                  </a:cubicBezTo>
                  <a:cubicBezTo>
                    <a:pt x="209" y="51"/>
                    <a:pt x="209" y="51"/>
                    <a:pt x="209" y="51"/>
                  </a:cubicBezTo>
                  <a:cubicBezTo>
                    <a:pt x="221" y="48"/>
                    <a:pt x="221" y="48"/>
                    <a:pt x="221" y="48"/>
                  </a:cubicBezTo>
                  <a:cubicBezTo>
                    <a:pt x="222" y="56"/>
                    <a:pt x="222" y="56"/>
                    <a:pt x="222" y="56"/>
                  </a:cubicBezTo>
                  <a:cubicBezTo>
                    <a:pt x="211" y="59"/>
                    <a:pt x="211" y="59"/>
                    <a:pt x="211" y="59"/>
                  </a:cubicBezTo>
                  <a:cubicBezTo>
                    <a:pt x="211" y="62"/>
                    <a:pt x="211" y="62"/>
                    <a:pt x="211" y="62"/>
                  </a:cubicBezTo>
                  <a:cubicBezTo>
                    <a:pt x="211" y="69"/>
                    <a:pt x="210" y="75"/>
                    <a:pt x="208" y="81"/>
                  </a:cubicBezTo>
                  <a:cubicBezTo>
                    <a:pt x="206" y="84"/>
                    <a:pt x="206" y="84"/>
                    <a:pt x="206" y="84"/>
                  </a:cubicBezTo>
                  <a:lnTo>
                    <a:pt x="217" y="91"/>
                  </a:lnTo>
                  <a:close/>
                  <a:moveTo>
                    <a:pt x="167" y="49"/>
                  </a:moveTo>
                  <a:cubicBezTo>
                    <a:pt x="166" y="49"/>
                    <a:pt x="165" y="49"/>
                    <a:pt x="164" y="49"/>
                  </a:cubicBezTo>
                  <a:cubicBezTo>
                    <a:pt x="155" y="51"/>
                    <a:pt x="150" y="60"/>
                    <a:pt x="152" y="68"/>
                  </a:cubicBezTo>
                  <a:cubicBezTo>
                    <a:pt x="153" y="76"/>
                    <a:pt x="160" y="81"/>
                    <a:pt x="167" y="81"/>
                  </a:cubicBezTo>
                  <a:cubicBezTo>
                    <a:pt x="168" y="81"/>
                    <a:pt x="170" y="80"/>
                    <a:pt x="171" y="80"/>
                  </a:cubicBezTo>
                  <a:cubicBezTo>
                    <a:pt x="175" y="79"/>
                    <a:pt x="178" y="77"/>
                    <a:pt x="181" y="73"/>
                  </a:cubicBezTo>
                  <a:cubicBezTo>
                    <a:pt x="183" y="70"/>
                    <a:pt x="184" y="65"/>
                    <a:pt x="183" y="61"/>
                  </a:cubicBezTo>
                  <a:cubicBezTo>
                    <a:pt x="181" y="54"/>
                    <a:pt x="175" y="49"/>
                    <a:pt x="167" y="49"/>
                  </a:cubicBezTo>
                  <a:close/>
                  <a:moveTo>
                    <a:pt x="174" y="69"/>
                  </a:moveTo>
                  <a:cubicBezTo>
                    <a:pt x="173" y="71"/>
                    <a:pt x="171" y="72"/>
                    <a:pt x="169" y="72"/>
                  </a:cubicBezTo>
                  <a:cubicBezTo>
                    <a:pt x="165" y="73"/>
                    <a:pt x="160" y="71"/>
                    <a:pt x="159" y="66"/>
                  </a:cubicBezTo>
                  <a:cubicBezTo>
                    <a:pt x="158" y="62"/>
                    <a:pt x="161" y="58"/>
                    <a:pt x="165" y="57"/>
                  </a:cubicBezTo>
                  <a:cubicBezTo>
                    <a:pt x="166" y="57"/>
                    <a:pt x="167" y="57"/>
                    <a:pt x="167" y="57"/>
                  </a:cubicBezTo>
                  <a:cubicBezTo>
                    <a:pt x="171" y="57"/>
                    <a:pt x="174" y="59"/>
                    <a:pt x="175" y="63"/>
                  </a:cubicBezTo>
                  <a:cubicBezTo>
                    <a:pt x="175" y="65"/>
                    <a:pt x="175" y="67"/>
                    <a:pt x="174" y="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2" name="Group 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789112" y="4332999"/>
            <a:ext cx="1341940" cy="1052245"/>
            <a:chOff x="7789112" y="4332999"/>
            <a:chExt cx="1341940" cy="1052245"/>
          </a:xfrm>
        </p:grpSpPr>
        <p:sp>
          <p:nvSpPr>
            <p:cNvPr id="58" name="TextBox 57"/>
            <p:cNvSpPr txBox="1"/>
            <p:nvPr/>
          </p:nvSpPr>
          <p:spPr>
            <a:xfrm>
              <a:off x="7789112" y="4905113"/>
              <a:ext cx="1341940" cy="4801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50" dirty="0">
                  <a:solidFill>
                    <a:schemeClr val="bg1"/>
                  </a:solidFill>
                  <a:cs typeface="等线" panose="02010600030101010101" charset="-122"/>
                </a:rPr>
                <a:t>Sed </a:t>
              </a:r>
              <a:r>
                <a:rPr lang="en-US" sz="1050" dirty="0" err="1">
                  <a:solidFill>
                    <a:schemeClr val="bg1"/>
                  </a:solidFill>
                  <a:cs typeface="等线" panose="02010600030101010101" charset="-122"/>
                </a:rPr>
                <a:t>ut</a:t>
              </a:r>
              <a:r>
                <a:rPr lang="en-US" sz="1050" dirty="0">
                  <a:solidFill>
                    <a:schemeClr val="bg1"/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bg1"/>
                  </a:solidFill>
                  <a:cs typeface="等线" panose="02010600030101010101" charset="-122"/>
                </a:rPr>
                <a:t>perspiciatis</a:t>
              </a:r>
              <a:r>
                <a:rPr lang="en-US" sz="1050" dirty="0">
                  <a:solidFill>
                    <a:schemeClr val="bg1"/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bg1"/>
                  </a:solidFill>
                  <a:cs typeface="等线" panose="02010600030101010101" charset="-122"/>
                </a:rPr>
                <a:t>unde</a:t>
              </a:r>
              <a:r>
                <a:rPr lang="en-US" sz="1050" dirty="0">
                  <a:solidFill>
                    <a:schemeClr val="bg1"/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bg1"/>
                  </a:solidFill>
                  <a:cs typeface="等线" panose="02010600030101010101" charset="-122"/>
                </a:rPr>
                <a:t>omnis</a:t>
              </a:r>
              <a:r>
                <a:rPr lang="en-US" sz="1050" dirty="0">
                  <a:solidFill>
                    <a:schemeClr val="bg1"/>
                  </a:solidFill>
                  <a:cs typeface="等线" panose="02010600030101010101" charset="-122"/>
                </a:rPr>
                <a:t>.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7789112" y="4617841"/>
              <a:ext cx="1341940" cy="3681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600" dirty="0">
                  <a:solidFill>
                    <a:schemeClr val="bg1"/>
                  </a:solidFill>
                  <a:latin typeface="+mj-lt"/>
                  <a:cs typeface="等线" panose="02010600030101010101" charset="-122"/>
                </a:rPr>
                <a:t>3200+</a:t>
              </a:r>
            </a:p>
          </p:txBody>
        </p:sp>
        <p:sp>
          <p:nvSpPr>
            <p:cNvPr id="60" name="Freeform 91"/>
            <p:cNvSpPr/>
            <p:nvPr/>
          </p:nvSpPr>
          <p:spPr bwMode="auto">
            <a:xfrm>
              <a:off x="8318113" y="4332999"/>
              <a:ext cx="283939" cy="268766"/>
            </a:xfrm>
            <a:custGeom>
              <a:avLst/>
              <a:gdLst>
                <a:gd name="T0" fmla="*/ 205 w 220"/>
                <a:gd name="T1" fmla="*/ 21 h 208"/>
                <a:gd name="T2" fmla="*/ 198 w 220"/>
                <a:gd name="T3" fmla="*/ 15 h 208"/>
                <a:gd name="T4" fmla="*/ 143 w 220"/>
                <a:gd name="T5" fmla="*/ 15 h 208"/>
                <a:gd name="T6" fmla="*/ 1 w 220"/>
                <a:gd name="T7" fmla="*/ 157 h 208"/>
                <a:gd name="T8" fmla="*/ 1 w 220"/>
                <a:gd name="T9" fmla="*/ 162 h 208"/>
                <a:gd name="T10" fmla="*/ 7 w 220"/>
                <a:gd name="T11" fmla="*/ 162 h 208"/>
                <a:gd name="T12" fmla="*/ 149 w 220"/>
                <a:gd name="T13" fmla="*/ 21 h 208"/>
                <a:gd name="T14" fmla="*/ 193 w 220"/>
                <a:gd name="T15" fmla="*/ 21 h 208"/>
                <a:gd name="T16" fmla="*/ 199 w 220"/>
                <a:gd name="T17" fmla="*/ 27 h 208"/>
                <a:gd name="T18" fmla="*/ 199 w 220"/>
                <a:gd name="T19" fmla="*/ 70 h 208"/>
                <a:gd name="T20" fmla="*/ 75 w 220"/>
                <a:gd name="T21" fmla="*/ 194 h 208"/>
                <a:gd name="T22" fmla="*/ 60 w 220"/>
                <a:gd name="T23" fmla="*/ 200 h 208"/>
                <a:gd name="T24" fmla="*/ 44 w 220"/>
                <a:gd name="T25" fmla="*/ 194 h 208"/>
                <a:gd name="T26" fmla="*/ 44 w 220"/>
                <a:gd name="T27" fmla="*/ 162 h 208"/>
                <a:gd name="T28" fmla="*/ 146 w 220"/>
                <a:gd name="T29" fmla="*/ 61 h 208"/>
                <a:gd name="T30" fmla="*/ 152 w 220"/>
                <a:gd name="T31" fmla="*/ 58 h 208"/>
                <a:gd name="T32" fmla="*/ 159 w 220"/>
                <a:gd name="T33" fmla="*/ 61 h 208"/>
                <a:gd name="T34" fmla="*/ 162 w 220"/>
                <a:gd name="T35" fmla="*/ 67 h 208"/>
                <a:gd name="T36" fmla="*/ 159 w 220"/>
                <a:gd name="T37" fmla="*/ 74 h 208"/>
                <a:gd name="T38" fmla="*/ 85 w 220"/>
                <a:gd name="T39" fmla="*/ 147 h 208"/>
                <a:gd name="T40" fmla="*/ 85 w 220"/>
                <a:gd name="T41" fmla="*/ 153 h 208"/>
                <a:gd name="T42" fmla="*/ 90 w 220"/>
                <a:gd name="T43" fmla="*/ 153 h 208"/>
                <a:gd name="T44" fmla="*/ 164 w 220"/>
                <a:gd name="T45" fmla="*/ 79 h 208"/>
                <a:gd name="T46" fmla="*/ 169 w 220"/>
                <a:gd name="T47" fmla="*/ 67 h 208"/>
                <a:gd name="T48" fmla="*/ 164 w 220"/>
                <a:gd name="T49" fmla="*/ 55 h 208"/>
                <a:gd name="T50" fmla="*/ 152 w 220"/>
                <a:gd name="T51" fmla="*/ 50 h 208"/>
                <a:gd name="T52" fmla="*/ 140 w 220"/>
                <a:gd name="T53" fmla="*/ 55 h 208"/>
                <a:gd name="T54" fmla="*/ 38 w 220"/>
                <a:gd name="T55" fmla="*/ 157 h 208"/>
                <a:gd name="T56" fmla="*/ 38 w 220"/>
                <a:gd name="T57" fmla="*/ 199 h 208"/>
                <a:gd name="T58" fmla="*/ 60 w 220"/>
                <a:gd name="T59" fmla="*/ 208 h 208"/>
                <a:gd name="T60" fmla="*/ 81 w 220"/>
                <a:gd name="T61" fmla="*/ 199 h 208"/>
                <a:gd name="T62" fmla="*/ 205 w 220"/>
                <a:gd name="T63" fmla="*/ 76 h 208"/>
                <a:gd name="T64" fmla="*/ 205 w 220"/>
                <a:gd name="T65" fmla="*/ 21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0" h="208">
                  <a:moveTo>
                    <a:pt x="205" y="21"/>
                  </a:moveTo>
                  <a:cubicBezTo>
                    <a:pt x="198" y="15"/>
                    <a:pt x="198" y="15"/>
                    <a:pt x="198" y="15"/>
                  </a:cubicBezTo>
                  <a:cubicBezTo>
                    <a:pt x="183" y="0"/>
                    <a:pt x="159" y="0"/>
                    <a:pt x="143" y="15"/>
                  </a:cubicBezTo>
                  <a:cubicBezTo>
                    <a:pt x="1" y="157"/>
                    <a:pt x="1" y="157"/>
                    <a:pt x="1" y="157"/>
                  </a:cubicBezTo>
                  <a:cubicBezTo>
                    <a:pt x="0" y="158"/>
                    <a:pt x="0" y="161"/>
                    <a:pt x="1" y="162"/>
                  </a:cubicBezTo>
                  <a:cubicBezTo>
                    <a:pt x="3" y="164"/>
                    <a:pt x="5" y="164"/>
                    <a:pt x="7" y="162"/>
                  </a:cubicBezTo>
                  <a:cubicBezTo>
                    <a:pt x="149" y="21"/>
                    <a:pt x="149" y="21"/>
                    <a:pt x="149" y="21"/>
                  </a:cubicBezTo>
                  <a:cubicBezTo>
                    <a:pt x="161" y="9"/>
                    <a:pt x="181" y="9"/>
                    <a:pt x="193" y="21"/>
                  </a:cubicBezTo>
                  <a:cubicBezTo>
                    <a:pt x="199" y="27"/>
                    <a:pt x="199" y="27"/>
                    <a:pt x="199" y="27"/>
                  </a:cubicBezTo>
                  <a:cubicBezTo>
                    <a:pt x="211" y="39"/>
                    <a:pt x="211" y="58"/>
                    <a:pt x="199" y="70"/>
                  </a:cubicBezTo>
                  <a:cubicBezTo>
                    <a:pt x="75" y="194"/>
                    <a:pt x="75" y="194"/>
                    <a:pt x="75" y="194"/>
                  </a:cubicBezTo>
                  <a:cubicBezTo>
                    <a:pt x="71" y="198"/>
                    <a:pt x="66" y="200"/>
                    <a:pt x="60" y="200"/>
                  </a:cubicBezTo>
                  <a:cubicBezTo>
                    <a:pt x="54" y="200"/>
                    <a:pt x="48" y="198"/>
                    <a:pt x="44" y="194"/>
                  </a:cubicBezTo>
                  <a:cubicBezTo>
                    <a:pt x="35" y="185"/>
                    <a:pt x="35" y="171"/>
                    <a:pt x="44" y="162"/>
                  </a:cubicBezTo>
                  <a:cubicBezTo>
                    <a:pt x="146" y="61"/>
                    <a:pt x="146" y="61"/>
                    <a:pt x="146" y="61"/>
                  </a:cubicBezTo>
                  <a:cubicBezTo>
                    <a:pt x="148" y="59"/>
                    <a:pt x="150" y="58"/>
                    <a:pt x="152" y="58"/>
                  </a:cubicBezTo>
                  <a:cubicBezTo>
                    <a:pt x="155" y="58"/>
                    <a:pt x="157" y="59"/>
                    <a:pt x="159" y="61"/>
                  </a:cubicBezTo>
                  <a:cubicBezTo>
                    <a:pt x="161" y="62"/>
                    <a:pt x="162" y="65"/>
                    <a:pt x="162" y="67"/>
                  </a:cubicBezTo>
                  <a:cubicBezTo>
                    <a:pt x="162" y="70"/>
                    <a:pt x="161" y="72"/>
                    <a:pt x="159" y="74"/>
                  </a:cubicBezTo>
                  <a:cubicBezTo>
                    <a:pt x="85" y="147"/>
                    <a:pt x="85" y="147"/>
                    <a:pt x="85" y="147"/>
                  </a:cubicBezTo>
                  <a:cubicBezTo>
                    <a:pt x="83" y="149"/>
                    <a:pt x="83" y="151"/>
                    <a:pt x="85" y="153"/>
                  </a:cubicBezTo>
                  <a:cubicBezTo>
                    <a:pt x="86" y="155"/>
                    <a:pt x="89" y="155"/>
                    <a:pt x="90" y="153"/>
                  </a:cubicBezTo>
                  <a:cubicBezTo>
                    <a:pt x="164" y="79"/>
                    <a:pt x="164" y="79"/>
                    <a:pt x="164" y="79"/>
                  </a:cubicBezTo>
                  <a:cubicBezTo>
                    <a:pt x="168" y="76"/>
                    <a:pt x="169" y="72"/>
                    <a:pt x="169" y="67"/>
                  </a:cubicBezTo>
                  <a:cubicBezTo>
                    <a:pt x="169" y="63"/>
                    <a:pt x="168" y="58"/>
                    <a:pt x="164" y="55"/>
                  </a:cubicBezTo>
                  <a:cubicBezTo>
                    <a:pt x="161" y="52"/>
                    <a:pt x="157" y="50"/>
                    <a:pt x="152" y="50"/>
                  </a:cubicBezTo>
                  <a:cubicBezTo>
                    <a:pt x="148" y="50"/>
                    <a:pt x="144" y="52"/>
                    <a:pt x="140" y="55"/>
                  </a:cubicBezTo>
                  <a:cubicBezTo>
                    <a:pt x="38" y="157"/>
                    <a:pt x="38" y="157"/>
                    <a:pt x="38" y="157"/>
                  </a:cubicBezTo>
                  <a:cubicBezTo>
                    <a:pt x="27" y="168"/>
                    <a:pt x="27" y="187"/>
                    <a:pt x="38" y="199"/>
                  </a:cubicBezTo>
                  <a:cubicBezTo>
                    <a:pt x="44" y="205"/>
                    <a:pt x="52" y="208"/>
                    <a:pt x="60" y="208"/>
                  </a:cubicBezTo>
                  <a:cubicBezTo>
                    <a:pt x="68" y="208"/>
                    <a:pt x="75" y="205"/>
                    <a:pt x="81" y="199"/>
                  </a:cubicBezTo>
                  <a:cubicBezTo>
                    <a:pt x="205" y="76"/>
                    <a:pt x="205" y="76"/>
                    <a:pt x="205" y="76"/>
                  </a:cubicBezTo>
                  <a:cubicBezTo>
                    <a:pt x="220" y="61"/>
                    <a:pt x="220" y="36"/>
                    <a:pt x="205" y="2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</p:grpSp>
      <p:sp>
        <p:nvSpPr>
          <p:cNvPr id="3" name="Oval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99882" y="732970"/>
            <a:ext cx="4078518" cy="407851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0" sx="102000" sy="102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pic>
        <p:nvPicPr>
          <p:cNvPr id="8" name="图片占位符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grpSp>
        <p:nvGrpSpPr>
          <p:cNvPr id="30" name="组合 2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279303" y="2213175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31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32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33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6096000" y="2523392"/>
            <a:ext cx="4718538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</a:t>
            </a:r>
          </a:p>
        </p:txBody>
      </p:sp>
      <p:grpSp>
        <p:nvGrpSpPr>
          <p:cNvPr id="16" name="Group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761296" y="4046491"/>
            <a:ext cx="613495" cy="613495"/>
            <a:chOff x="3653704" y="4381366"/>
            <a:chExt cx="613495" cy="613495"/>
          </a:xfrm>
        </p:grpSpPr>
        <p:sp>
          <p:nvSpPr>
            <p:cNvPr id="13" name="Oval 12"/>
            <p:cNvSpPr/>
            <p:nvPr/>
          </p:nvSpPr>
          <p:spPr>
            <a:xfrm>
              <a:off x="3653704" y="4381366"/>
              <a:ext cx="613495" cy="61349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>
              <a:outerShdw blurRad="254000" dist="76200" dir="48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  <p:sp>
          <p:nvSpPr>
            <p:cNvPr id="15" name="Freeform 35"/>
            <p:cNvSpPr>
              <a:spLocks noEditPoints="1"/>
            </p:cNvSpPr>
            <p:nvPr/>
          </p:nvSpPr>
          <p:spPr bwMode="auto">
            <a:xfrm>
              <a:off x="3914414" y="4539682"/>
              <a:ext cx="92075" cy="296863"/>
            </a:xfrm>
            <a:custGeom>
              <a:avLst/>
              <a:gdLst>
                <a:gd name="T0" fmla="*/ 47 w 58"/>
                <a:gd name="T1" fmla="*/ 48 h 187"/>
                <a:gd name="T2" fmla="*/ 55 w 58"/>
                <a:gd name="T3" fmla="*/ 0 h 187"/>
                <a:gd name="T4" fmla="*/ 3 w 58"/>
                <a:gd name="T5" fmla="*/ 0 h 187"/>
                <a:gd name="T6" fmla="*/ 11 w 58"/>
                <a:gd name="T7" fmla="*/ 48 h 187"/>
                <a:gd name="T8" fmla="*/ 5 w 58"/>
                <a:gd name="T9" fmla="*/ 110 h 187"/>
                <a:gd name="T10" fmla="*/ 5 w 58"/>
                <a:gd name="T11" fmla="*/ 111 h 187"/>
                <a:gd name="T12" fmla="*/ 5 w 58"/>
                <a:gd name="T13" fmla="*/ 111 h 187"/>
                <a:gd name="T14" fmla="*/ 0 w 58"/>
                <a:gd name="T15" fmla="*/ 174 h 187"/>
                <a:gd name="T16" fmla="*/ 29 w 58"/>
                <a:gd name="T17" fmla="*/ 187 h 187"/>
                <a:gd name="T18" fmla="*/ 58 w 58"/>
                <a:gd name="T19" fmla="*/ 174 h 187"/>
                <a:gd name="T20" fmla="*/ 47 w 58"/>
                <a:gd name="T21" fmla="*/ 48 h 187"/>
                <a:gd name="T22" fmla="*/ 46 w 58"/>
                <a:gd name="T23" fmla="*/ 119 h 187"/>
                <a:gd name="T24" fmla="*/ 45 w 58"/>
                <a:gd name="T25" fmla="*/ 118 h 187"/>
                <a:gd name="T26" fmla="*/ 10 w 58"/>
                <a:gd name="T27" fmla="*/ 144 h 187"/>
                <a:gd name="T28" fmla="*/ 11 w 58"/>
                <a:gd name="T29" fmla="*/ 134 h 187"/>
                <a:gd name="T30" fmla="*/ 46 w 58"/>
                <a:gd name="T31" fmla="*/ 108 h 187"/>
                <a:gd name="T32" fmla="*/ 46 w 58"/>
                <a:gd name="T33" fmla="*/ 119 h 187"/>
                <a:gd name="T34" fmla="*/ 45 w 58"/>
                <a:gd name="T35" fmla="*/ 100 h 187"/>
                <a:gd name="T36" fmla="*/ 12 w 58"/>
                <a:gd name="T37" fmla="*/ 124 h 187"/>
                <a:gd name="T38" fmla="*/ 13 w 58"/>
                <a:gd name="T39" fmla="*/ 114 h 187"/>
                <a:gd name="T40" fmla="*/ 44 w 58"/>
                <a:gd name="T41" fmla="*/ 91 h 187"/>
                <a:gd name="T42" fmla="*/ 45 w 58"/>
                <a:gd name="T43" fmla="*/ 100 h 187"/>
                <a:gd name="T44" fmla="*/ 46 w 58"/>
                <a:gd name="T45" fmla="*/ 8 h 187"/>
                <a:gd name="T46" fmla="*/ 41 w 58"/>
                <a:gd name="T47" fmla="*/ 44 h 187"/>
                <a:gd name="T48" fmla="*/ 17 w 58"/>
                <a:gd name="T49" fmla="*/ 44 h 187"/>
                <a:gd name="T50" fmla="*/ 12 w 58"/>
                <a:gd name="T51" fmla="*/ 8 h 187"/>
                <a:gd name="T52" fmla="*/ 46 w 58"/>
                <a:gd name="T53" fmla="*/ 8 h 187"/>
                <a:gd name="T54" fmla="*/ 18 w 58"/>
                <a:gd name="T55" fmla="*/ 52 h 187"/>
                <a:gd name="T56" fmla="*/ 40 w 58"/>
                <a:gd name="T57" fmla="*/ 52 h 187"/>
                <a:gd name="T58" fmla="*/ 43 w 58"/>
                <a:gd name="T59" fmla="*/ 83 h 187"/>
                <a:gd name="T60" fmla="*/ 14 w 58"/>
                <a:gd name="T61" fmla="*/ 104 h 187"/>
                <a:gd name="T62" fmla="*/ 18 w 58"/>
                <a:gd name="T63" fmla="*/ 52 h 187"/>
                <a:gd name="T64" fmla="*/ 7 w 58"/>
                <a:gd name="T65" fmla="*/ 169 h 187"/>
                <a:gd name="T66" fmla="*/ 9 w 58"/>
                <a:gd name="T67" fmla="*/ 152 h 187"/>
                <a:gd name="T68" fmla="*/ 10 w 58"/>
                <a:gd name="T69" fmla="*/ 153 h 187"/>
                <a:gd name="T70" fmla="*/ 46 w 58"/>
                <a:gd name="T71" fmla="*/ 125 h 187"/>
                <a:gd name="T72" fmla="*/ 51 w 58"/>
                <a:gd name="T73" fmla="*/ 169 h 187"/>
                <a:gd name="T74" fmla="*/ 29 w 58"/>
                <a:gd name="T75" fmla="*/ 178 h 187"/>
                <a:gd name="T76" fmla="*/ 7 w 58"/>
                <a:gd name="T77" fmla="*/ 169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7" h="187">
                  <a:moveTo>
                    <a:pt x="47" y="48"/>
                  </a:moveTo>
                  <a:lnTo>
                    <a:pt x="55" y="0"/>
                  </a:lnTo>
                  <a:lnTo>
                    <a:pt x="3" y="0"/>
                  </a:lnTo>
                  <a:lnTo>
                    <a:pt x="11" y="48"/>
                  </a:lnTo>
                  <a:lnTo>
                    <a:pt x="5" y="110"/>
                  </a:lnTo>
                  <a:lnTo>
                    <a:pt x="5" y="111"/>
                  </a:lnTo>
                  <a:lnTo>
                    <a:pt x="5" y="111"/>
                  </a:lnTo>
                  <a:lnTo>
                    <a:pt x="0" y="174"/>
                  </a:lnTo>
                  <a:lnTo>
                    <a:pt x="29" y="187"/>
                  </a:lnTo>
                  <a:lnTo>
                    <a:pt x="58" y="174"/>
                  </a:lnTo>
                  <a:lnTo>
                    <a:pt x="47" y="48"/>
                  </a:lnTo>
                  <a:close/>
                  <a:moveTo>
                    <a:pt x="46" y="119"/>
                  </a:moveTo>
                  <a:lnTo>
                    <a:pt x="45" y="118"/>
                  </a:lnTo>
                  <a:lnTo>
                    <a:pt x="10" y="144"/>
                  </a:lnTo>
                  <a:lnTo>
                    <a:pt x="11" y="134"/>
                  </a:lnTo>
                  <a:lnTo>
                    <a:pt x="46" y="108"/>
                  </a:lnTo>
                  <a:lnTo>
                    <a:pt x="46" y="119"/>
                  </a:lnTo>
                  <a:close/>
                  <a:moveTo>
                    <a:pt x="45" y="100"/>
                  </a:moveTo>
                  <a:lnTo>
                    <a:pt x="12" y="124"/>
                  </a:lnTo>
                  <a:lnTo>
                    <a:pt x="13" y="114"/>
                  </a:lnTo>
                  <a:lnTo>
                    <a:pt x="44" y="91"/>
                  </a:lnTo>
                  <a:lnTo>
                    <a:pt x="45" y="100"/>
                  </a:lnTo>
                  <a:close/>
                  <a:moveTo>
                    <a:pt x="46" y="8"/>
                  </a:moveTo>
                  <a:lnTo>
                    <a:pt x="41" y="44"/>
                  </a:lnTo>
                  <a:lnTo>
                    <a:pt x="17" y="44"/>
                  </a:lnTo>
                  <a:lnTo>
                    <a:pt x="12" y="8"/>
                  </a:lnTo>
                  <a:lnTo>
                    <a:pt x="46" y="8"/>
                  </a:lnTo>
                  <a:close/>
                  <a:moveTo>
                    <a:pt x="18" y="52"/>
                  </a:moveTo>
                  <a:lnTo>
                    <a:pt x="40" y="52"/>
                  </a:lnTo>
                  <a:lnTo>
                    <a:pt x="43" y="83"/>
                  </a:lnTo>
                  <a:lnTo>
                    <a:pt x="14" y="104"/>
                  </a:lnTo>
                  <a:lnTo>
                    <a:pt x="18" y="52"/>
                  </a:lnTo>
                  <a:close/>
                  <a:moveTo>
                    <a:pt x="7" y="169"/>
                  </a:moveTo>
                  <a:lnTo>
                    <a:pt x="9" y="152"/>
                  </a:lnTo>
                  <a:lnTo>
                    <a:pt x="10" y="153"/>
                  </a:lnTo>
                  <a:lnTo>
                    <a:pt x="46" y="125"/>
                  </a:lnTo>
                  <a:lnTo>
                    <a:pt x="51" y="169"/>
                  </a:lnTo>
                  <a:lnTo>
                    <a:pt x="29" y="178"/>
                  </a:lnTo>
                  <a:lnTo>
                    <a:pt x="7" y="1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</p:grpSp>
      <p:sp>
        <p:nvSpPr>
          <p:cNvPr id="7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 spd="slow">
    <p:push dir="r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5" name="图文框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107830" y="800100"/>
            <a:ext cx="5416062" cy="5257800"/>
          </a:xfrm>
          <a:prstGeom prst="frame">
            <a:avLst>
              <a:gd name="adj1" fmla="val 347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  <a:cs typeface="等线" panose="02010600030101010101" charset="-122"/>
            </a:endParaRPr>
          </a:p>
        </p:txBody>
      </p:sp>
      <p:pic>
        <p:nvPicPr>
          <p:cNvPr id="4" name="图片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411963"/>
            <a:ext cx="12192000" cy="8139125"/>
          </a:xfrm>
          <a:prstGeom prst="rect">
            <a:avLst/>
          </a:prstGeom>
        </p:spPr>
      </p:pic>
      <p:sp>
        <p:nvSpPr>
          <p:cNvPr id="7" name="文本框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701362" y="1721583"/>
            <a:ext cx="36091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600" dirty="0">
                <a:solidFill>
                  <a:schemeClr val="bg1"/>
                </a:solidFill>
                <a:cs typeface="等线" panose="02010600030101010101" charset="-122"/>
              </a:rPr>
              <a:t>PART</a:t>
            </a:r>
            <a:endParaRPr lang="zh-CN" altLang="en-US" sz="96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8" name="文本框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338668"/>
            <a:ext cx="9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cs typeface="等线" panose="02010600030101010101" charset="-122"/>
              </a:rPr>
              <a:t>WATER</a:t>
            </a:r>
          </a:p>
        </p:txBody>
      </p:sp>
      <p:sp>
        <p:nvSpPr>
          <p:cNvPr id="9" name="TextBox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767520" y="1370759"/>
            <a:ext cx="28396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BUSINESS PRESENTATION TEMPLATE</a:t>
            </a:r>
          </a:p>
        </p:txBody>
      </p:sp>
      <p:sp>
        <p:nvSpPr>
          <p:cNvPr id="10" name="文本框 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713085" y="2890355"/>
            <a:ext cx="360919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600" dirty="0">
                <a:solidFill>
                  <a:schemeClr val="bg1"/>
                </a:solidFill>
                <a:cs typeface="等线" panose="02010600030101010101" charset="-122"/>
              </a:rPr>
              <a:t>TWO</a:t>
            </a:r>
            <a:endParaRPr lang="zh-CN" altLang="en-US" sz="96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grpSp>
        <p:nvGrpSpPr>
          <p:cNvPr id="11" name="组合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390781" y="419542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12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3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8" name="Rectangle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0" y="0"/>
            <a:ext cx="12191999" cy="5021943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sp>
        <p:nvSpPr>
          <p:cNvPr id="11" name="Text Placeholder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Make Your Presentation Better</a:t>
            </a:r>
          </a:p>
        </p:txBody>
      </p:sp>
      <p:sp>
        <p:nvSpPr>
          <p:cNvPr id="9" name="Rectangle: Rounded Corners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988457" y="2583001"/>
            <a:ext cx="8215084" cy="457200"/>
          </a:xfrm>
          <a:prstGeom prst="roundRect">
            <a:avLst>
              <a:gd name="adj" fmla="val 9091"/>
            </a:avLst>
          </a:prstGeom>
          <a:solidFill>
            <a:schemeClr val="bg1"/>
          </a:solidFill>
          <a:ln w="63500">
            <a:noFill/>
          </a:ln>
          <a:effectLst>
            <a:outerShdw blurRad="381000" dist="762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grpSp>
        <p:nvGrpSpPr>
          <p:cNvPr id="2" name="Group 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988458" y="4237380"/>
            <a:ext cx="8215084" cy="1569126"/>
            <a:chOff x="1988458" y="4237380"/>
            <a:chExt cx="8215084" cy="1569126"/>
          </a:xfrm>
        </p:grpSpPr>
        <p:sp>
          <p:nvSpPr>
            <p:cNvPr id="5" name="Rectangle: Rounded Corners 4"/>
            <p:cNvSpPr/>
            <p:nvPr/>
          </p:nvSpPr>
          <p:spPr>
            <a:xfrm>
              <a:off x="1988458" y="4237380"/>
              <a:ext cx="8215084" cy="1569126"/>
            </a:xfrm>
            <a:prstGeom prst="roundRect">
              <a:avLst>
                <a:gd name="adj" fmla="val 6492"/>
              </a:avLst>
            </a:prstGeom>
            <a:solidFill>
              <a:schemeClr val="bg1"/>
            </a:solidFill>
            <a:ln w="63500">
              <a:noFill/>
            </a:ln>
            <a:effectLst>
              <a:outerShdw blurRad="381000" dist="762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  <p:cxnSp>
          <p:nvCxnSpPr>
            <p:cNvPr id="59" name="Straight Connector 58"/>
            <p:cNvCxnSpPr/>
            <p:nvPr/>
          </p:nvCxnSpPr>
          <p:spPr>
            <a:xfrm flipH="1" flipV="1">
              <a:off x="4100052" y="4708189"/>
              <a:ext cx="0" cy="450532"/>
            </a:xfrm>
            <a:prstGeom prst="line">
              <a:avLst/>
            </a:prstGeom>
            <a:ln w="76200" cap="rnd">
              <a:solidFill>
                <a:schemeClr val="bg1">
                  <a:lumMod val="85000"/>
                  <a:alpha val="60000"/>
                </a:schemeClr>
              </a:solidFill>
              <a:prstDash val="sysDot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H="1" flipV="1">
              <a:off x="6091992" y="4708189"/>
              <a:ext cx="0" cy="450532"/>
            </a:xfrm>
            <a:prstGeom prst="line">
              <a:avLst/>
            </a:prstGeom>
            <a:ln w="76200" cap="rnd">
              <a:solidFill>
                <a:schemeClr val="bg1">
                  <a:lumMod val="85000"/>
                  <a:alpha val="60000"/>
                </a:schemeClr>
              </a:solidFill>
              <a:prstDash val="sysDot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 flipH="1" flipV="1">
              <a:off x="8083932" y="4708189"/>
              <a:ext cx="0" cy="450532"/>
            </a:xfrm>
            <a:prstGeom prst="line">
              <a:avLst/>
            </a:prstGeom>
            <a:ln w="76200" cap="rnd">
              <a:solidFill>
                <a:schemeClr val="bg1">
                  <a:lumMod val="85000"/>
                  <a:alpha val="60000"/>
                </a:schemeClr>
              </a:solidFill>
              <a:prstDash val="sysDot"/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Rectangle 7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832968" y="2583001"/>
            <a:ext cx="1389402" cy="457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grpSp>
        <p:nvGrpSpPr>
          <p:cNvPr id="82" name="Group 8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2326921" y="2658529"/>
            <a:ext cx="1301477" cy="299184"/>
            <a:chOff x="2326921" y="2658529"/>
            <a:chExt cx="1301477" cy="299184"/>
          </a:xfrm>
        </p:grpSpPr>
        <p:sp>
          <p:nvSpPr>
            <p:cNvPr id="64" name="TextBox 63"/>
            <p:cNvSpPr txBox="1"/>
            <p:nvPr/>
          </p:nvSpPr>
          <p:spPr>
            <a:xfrm>
              <a:off x="2584745" y="2658529"/>
              <a:ext cx="1043653" cy="299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vitae dicta </a:t>
              </a:r>
            </a:p>
          </p:txBody>
        </p:sp>
        <p:sp>
          <p:nvSpPr>
            <p:cNvPr id="70" name="Isosceles Triangle 69"/>
            <p:cNvSpPr/>
            <p:nvPr/>
          </p:nvSpPr>
          <p:spPr>
            <a:xfrm>
              <a:off x="2326921" y="2750055"/>
              <a:ext cx="185726" cy="123092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81" name="Group 8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836084" y="2658529"/>
            <a:ext cx="1351484" cy="299184"/>
            <a:chOff x="3836084" y="2658529"/>
            <a:chExt cx="1351484" cy="299184"/>
          </a:xfrm>
        </p:grpSpPr>
        <p:sp>
          <p:nvSpPr>
            <p:cNvPr id="65" name="TextBox 64"/>
            <p:cNvSpPr txBox="1"/>
            <p:nvPr/>
          </p:nvSpPr>
          <p:spPr>
            <a:xfrm>
              <a:off x="4143915" y="2658529"/>
              <a:ext cx="1043653" cy="299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20,000</a:t>
              </a:r>
            </a:p>
          </p:txBody>
        </p:sp>
        <p:sp>
          <p:nvSpPr>
            <p:cNvPr id="71" name="Isosceles Triangle 70"/>
            <p:cNvSpPr/>
            <p:nvPr/>
          </p:nvSpPr>
          <p:spPr>
            <a:xfrm flipV="1">
              <a:off x="3836084" y="2750055"/>
              <a:ext cx="185726" cy="123092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80" name="Group 7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458087" y="2658529"/>
            <a:ext cx="1288651" cy="299184"/>
            <a:chOff x="5458087" y="2658529"/>
            <a:chExt cx="1288651" cy="299184"/>
          </a:xfrm>
        </p:grpSpPr>
        <p:sp>
          <p:nvSpPr>
            <p:cNvPr id="66" name="TextBox 65"/>
            <p:cNvSpPr txBox="1"/>
            <p:nvPr/>
          </p:nvSpPr>
          <p:spPr>
            <a:xfrm>
              <a:off x="5703085" y="2658529"/>
              <a:ext cx="1043653" cy="299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vitae dicta </a:t>
              </a:r>
            </a:p>
          </p:txBody>
        </p:sp>
        <p:sp>
          <p:nvSpPr>
            <p:cNvPr id="72" name="Isosceles Triangle 71"/>
            <p:cNvSpPr/>
            <p:nvPr/>
          </p:nvSpPr>
          <p:spPr>
            <a:xfrm>
              <a:off x="5458087" y="2750055"/>
              <a:ext cx="185726" cy="123092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78" name="Group 7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589253" y="2658529"/>
            <a:ext cx="1275825" cy="299184"/>
            <a:chOff x="8589253" y="2658529"/>
            <a:chExt cx="1275825" cy="299184"/>
          </a:xfrm>
        </p:grpSpPr>
        <p:sp>
          <p:nvSpPr>
            <p:cNvPr id="68" name="TextBox 67"/>
            <p:cNvSpPr txBox="1"/>
            <p:nvPr/>
          </p:nvSpPr>
          <p:spPr>
            <a:xfrm>
              <a:off x="8821425" y="2658529"/>
              <a:ext cx="1043653" cy="299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vitae dicta </a:t>
              </a:r>
            </a:p>
          </p:txBody>
        </p:sp>
        <p:sp>
          <p:nvSpPr>
            <p:cNvPr id="73" name="Isosceles Triangle 72"/>
            <p:cNvSpPr/>
            <p:nvPr/>
          </p:nvSpPr>
          <p:spPr>
            <a:xfrm>
              <a:off x="8589253" y="2750055"/>
              <a:ext cx="185726" cy="123092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79" name="Group 7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029231" y="2658529"/>
            <a:ext cx="1094158" cy="299184"/>
            <a:chOff x="7029231" y="2658529"/>
            <a:chExt cx="1094158" cy="299184"/>
          </a:xfrm>
        </p:grpSpPr>
        <p:sp>
          <p:nvSpPr>
            <p:cNvPr id="67" name="TextBox 66"/>
            <p:cNvSpPr txBox="1"/>
            <p:nvPr/>
          </p:nvSpPr>
          <p:spPr>
            <a:xfrm>
              <a:off x="7263766" y="2658529"/>
              <a:ext cx="859623" cy="299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200" dirty="0">
                  <a:solidFill>
                    <a:schemeClr val="bg1"/>
                  </a:solidFill>
                  <a:cs typeface="等线" panose="02010600030101010101" charset="-122"/>
                </a:rPr>
                <a:t>698,000</a:t>
              </a:r>
            </a:p>
          </p:txBody>
        </p:sp>
        <p:sp>
          <p:nvSpPr>
            <p:cNvPr id="74" name="Isosceles Triangle 73"/>
            <p:cNvSpPr/>
            <p:nvPr/>
          </p:nvSpPr>
          <p:spPr>
            <a:xfrm>
              <a:off x="7029231" y="2750055"/>
              <a:ext cx="185726" cy="123092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29" name="Group 2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2333728" y="4571411"/>
            <a:ext cx="1559170" cy="1077651"/>
            <a:chOff x="2172172" y="4561082"/>
            <a:chExt cx="1559170" cy="1077651"/>
          </a:xfrm>
        </p:grpSpPr>
        <p:sp>
          <p:nvSpPr>
            <p:cNvPr id="15" name="TextBox 14"/>
            <p:cNvSpPr txBox="1"/>
            <p:nvPr/>
          </p:nvSpPr>
          <p:spPr>
            <a:xfrm>
              <a:off x="2172172" y="4982015"/>
              <a:ext cx="1559170" cy="656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Sed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t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perspiciat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nde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omn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iste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natu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.</a:t>
              </a: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172172" y="4561082"/>
              <a:ext cx="1559170" cy="402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b="1" dirty="0">
                  <a:solidFill>
                    <a:schemeClr val="accent1"/>
                  </a:solidFill>
                  <a:latin typeface="+mj-lt"/>
                  <a:cs typeface="等线" panose="02010600030101010101" charset="-122"/>
                </a:rPr>
                <a:t>$12,600</a:t>
              </a:r>
            </a:p>
          </p:txBody>
        </p:sp>
      </p:grpSp>
      <p:grpSp>
        <p:nvGrpSpPr>
          <p:cNvPr id="48" name="Group 4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4322186" y="4571411"/>
            <a:ext cx="1559170" cy="1077651"/>
            <a:chOff x="2172172" y="4561082"/>
            <a:chExt cx="1559170" cy="1077651"/>
          </a:xfrm>
        </p:grpSpPr>
        <p:sp>
          <p:nvSpPr>
            <p:cNvPr id="49" name="TextBox 48"/>
            <p:cNvSpPr txBox="1"/>
            <p:nvPr/>
          </p:nvSpPr>
          <p:spPr>
            <a:xfrm>
              <a:off x="2172172" y="4982015"/>
              <a:ext cx="1559170" cy="656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Sed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t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perspiciat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nde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omn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iste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natu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.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172172" y="4561082"/>
              <a:ext cx="1559170" cy="402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b="1" dirty="0">
                  <a:solidFill>
                    <a:schemeClr val="accent1"/>
                  </a:solidFill>
                  <a:latin typeface="+mj-lt"/>
                  <a:cs typeface="等线" panose="02010600030101010101" charset="-122"/>
                </a:rPr>
                <a:t>$8,000</a:t>
              </a:r>
            </a:p>
          </p:txBody>
        </p:sp>
      </p:grpSp>
      <p:grpSp>
        <p:nvGrpSpPr>
          <p:cNvPr id="51" name="Group 5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310644" y="4571411"/>
            <a:ext cx="1559170" cy="1077651"/>
            <a:chOff x="2172172" y="4561082"/>
            <a:chExt cx="1559170" cy="1077651"/>
          </a:xfrm>
        </p:grpSpPr>
        <p:sp>
          <p:nvSpPr>
            <p:cNvPr id="52" name="TextBox 51"/>
            <p:cNvSpPr txBox="1"/>
            <p:nvPr/>
          </p:nvSpPr>
          <p:spPr>
            <a:xfrm>
              <a:off x="2172172" y="4982015"/>
              <a:ext cx="1559170" cy="656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Sed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t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perspiciat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nde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omn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iste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natu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.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2172172" y="4561082"/>
              <a:ext cx="1559170" cy="402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b="1" dirty="0">
                  <a:solidFill>
                    <a:schemeClr val="accent1"/>
                  </a:solidFill>
                  <a:latin typeface="+mj-lt"/>
                  <a:cs typeface="等线" panose="02010600030101010101" charset="-122"/>
                </a:rPr>
                <a:t>+6340</a:t>
              </a:r>
            </a:p>
          </p:txBody>
        </p:sp>
      </p:grpSp>
      <p:grpSp>
        <p:nvGrpSpPr>
          <p:cNvPr id="54" name="Group 5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299102" y="4571411"/>
            <a:ext cx="1559170" cy="1077651"/>
            <a:chOff x="2172172" y="4561082"/>
            <a:chExt cx="1559170" cy="1077651"/>
          </a:xfrm>
        </p:grpSpPr>
        <p:sp>
          <p:nvSpPr>
            <p:cNvPr id="55" name="TextBox 54"/>
            <p:cNvSpPr txBox="1"/>
            <p:nvPr/>
          </p:nvSpPr>
          <p:spPr>
            <a:xfrm>
              <a:off x="2172172" y="4982015"/>
              <a:ext cx="1559170" cy="6567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Sed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t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perspiciat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unde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omni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iste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 </a:t>
              </a:r>
              <a:r>
                <a:rPr lang="en-US" sz="1050" dirty="0" err="1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natus</a:t>
              </a:r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.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2172172" y="4561082"/>
              <a:ext cx="1559170" cy="40261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b="1" dirty="0">
                  <a:solidFill>
                    <a:schemeClr val="accent1"/>
                  </a:solidFill>
                  <a:latin typeface="+mj-lt"/>
                  <a:cs typeface="等线" panose="02010600030101010101" charset="-122"/>
                </a:rPr>
                <a:t>$130,000</a:t>
              </a:r>
            </a:p>
          </p:txBody>
        </p:sp>
      </p:grpSp>
      <p:sp>
        <p:nvSpPr>
          <p:cNvPr id="42" name="Rectangle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750279" y="272567"/>
            <a:ext cx="2691442" cy="316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1100" dirty="0">
                <a:solidFill>
                  <a:schemeClr val="bg1"/>
                </a:solidFill>
                <a:latin typeface="+mj-lt"/>
                <a:cs typeface="等线" panose="02010600030101010101" charset="-122"/>
              </a:rPr>
              <a:t>Sub title goes here</a:t>
            </a:r>
          </a:p>
        </p:txBody>
      </p:sp>
      <p:grpSp>
        <p:nvGrpSpPr>
          <p:cNvPr id="43" name="组合 4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751766" y="1210851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44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45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46" name="Rectangle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2543674" y="1613730"/>
            <a:ext cx="728612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Lorem ipsum dolor sit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amet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consectetur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adipiscing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elit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, sed do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eiusmod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tempor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incididunt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ut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labore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et dolore magna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aliqua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. Ut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enim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ad minim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veniam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,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quis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nostrud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exercitation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ullamco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laboris</a:t>
            </a:r>
            <a:r>
              <a:rPr lang="en-US" sz="14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nisi </a:t>
            </a:r>
            <a:r>
              <a:rPr lang="en-US" sz="14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ut.</a:t>
            </a:r>
            <a:endParaRPr lang="en-US" sz="14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4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 spd="slow">
    <p:push dir="u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694098" y="0"/>
            <a:ext cx="4243533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cs typeface="等线" panose="02010600030101010101" charset="-122"/>
            </a:endParaRPr>
          </a:p>
        </p:txBody>
      </p:sp>
      <p:pic>
        <p:nvPicPr>
          <p:cNvPr id="18" name="图片占位符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2" name="Title 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Grp="1"/>
          </p:cNvSpPr>
          <p:nvPr>
            <p:ph type="title" idx="4294967295"/>
          </p:nvPr>
        </p:nvSpPr>
        <p:spPr>
          <a:xfrm>
            <a:off x="580293" y="523387"/>
            <a:ext cx="10436225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About Us</a:t>
            </a:r>
          </a:p>
        </p:txBody>
      </p:sp>
      <p:sp>
        <p:nvSpPr>
          <p:cNvPr id="4" name="Rectangle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20382" y="4603114"/>
            <a:ext cx="496033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Lorem ipsum dolor sit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amet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,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consectetur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adipiscing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elit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, sed do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eiusmod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tempor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incididunt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ut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labore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et dolore magna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aliqua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. Ut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enim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ad minim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veniam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,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quis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nostrud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exercitation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ullamco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laboris</a:t>
            </a:r>
            <a:r>
              <a:rPr lang="en-US" sz="1400" b="0" i="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 nisi </a:t>
            </a:r>
            <a:r>
              <a:rPr lang="en-US" sz="1400" b="0" i="0" dirty="0" err="1">
                <a:solidFill>
                  <a:schemeClr val="tx1">
                    <a:lumMod val="50000"/>
                    <a:lumOff val="50000"/>
                  </a:schemeClr>
                </a:solidFill>
                <a:effectLst/>
                <a:cs typeface="等线" panose="02010600030101010101" charset="-122"/>
              </a:rPr>
              <a:t>ut.</a:t>
            </a:r>
            <a:endParaRPr lang="en-US" sz="1400" dirty="0">
              <a:solidFill>
                <a:schemeClr val="tx1">
                  <a:lumMod val="50000"/>
                  <a:lumOff val="50000"/>
                </a:schemeClr>
              </a:solidFill>
              <a:cs typeface="等线" panose="02010600030101010101" charset="-122"/>
            </a:endParaRPr>
          </a:p>
        </p:txBody>
      </p:sp>
      <p:sp>
        <p:nvSpPr>
          <p:cNvPr id="7" name="Rectangle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231772" y="3089303"/>
            <a:ext cx="187904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0"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latin typeface="+mj-lt"/>
                <a:cs typeface="Poppins" panose="00000500000000000000" pitchFamily="2" charset="0"/>
              </a:rPr>
              <a:t>We're Friendly</a:t>
            </a:r>
          </a:p>
        </p:txBody>
      </p:sp>
      <p:sp>
        <p:nvSpPr>
          <p:cNvPr id="8" name="Rectangle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231773" y="3397084"/>
            <a:ext cx="2191478" cy="6126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accent1">
                    <a:lumMod val="25000"/>
                    <a:lumOff val="75000"/>
                  </a:schemeClr>
                </a:solidFill>
                <a:cs typeface="等线" panose="02010600030101010101" charset="-122"/>
              </a:rPr>
              <a:t>Lorem ipsum dolor sit </a:t>
            </a:r>
            <a:r>
              <a:rPr lang="en-US" sz="1200" dirty="0" err="1">
                <a:solidFill>
                  <a:schemeClr val="accent1">
                    <a:lumMod val="25000"/>
                    <a:lumOff val="75000"/>
                  </a:schemeClr>
                </a:solidFill>
                <a:cs typeface="等线" panose="02010600030101010101" charset="-122"/>
              </a:rPr>
              <a:t>adipiscing</a:t>
            </a:r>
            <a:r>
              <a:rPr lang="en-US" sz="1200" dirty="0">
                <a:solidFill>
                  <a:schemeClr val="accent1">
                    <a:lumMod val="25000"/>
                    <a:lumOff val="75000"/>
                  </a:schemeClr>
                </a:solidFill>
                <a:cs typeface="等线" panose="02010600030101010101" charset="-122"/>
              </a:rPr>
              <a:t> sed diam.</a:t>
            </a:r>
          </a:p>
        </p:txBody>
      </p:sp>
      <p:grpSp>
        <p:nvGrpSpPr>
          <p:cNvPr id="12" name="Group 1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301783" y="3116353"/>
            <a:ext cx="599936" cy="506955"/>
            <a:chOff x="2151063" y="2751138"/>
            <a:chExt cx="1608138" cy="1358900"/>
          </a:xfrm>
          <a:solidFill>
            <a:schemeClr val="accent1">
              <a:lumMod val="75000"/>
              <a:lumOff val="25000"/>
            </a:schemeClr>
          </a:solidFill>
          <a:effectLst/>
        </p:grpSpPr>
        <p:sp>
          <p:nvSpPr>
            <p:cNvPr id="13" name="Freeform 6"/>
            <p:cNvSpPr>
              <a:spLocks noEditPoints="1"/>
            </p:cNvSpPr>
            <p:nvPr/>
          </p:nvSpPr>
          <p:spPr bwMode="auto">
            <a:xfrm>
              <a:off x="2151063" y="2751138"/>
              <a:ext cx="1608138" cy="1358900"/>
            </a:xfrm>
            <a:custGeom>
              <a:avLst/>
              <a:gdLst>
                <a:gd name="T0" fmla="*/ 496 w 540"/>
                <a:gd name="T1" fmla="*/ 0 h 457"/>
                <a:gd name="T2" fmla="*/ 43 w 540"/>
                <a:gd name="T3" fmla="*/ 0 h 457"/>
                <a:gd name="T4" fmla="*/ 0 w 540"/>
                <a:gd name="T5" fmla="*/ 44 h 457"/>
                <a:gd name="T6" fmla="*/ 0 w 540"/>
                <a:gd name="T7" fmla="*/ 331 h 457"/>
                <a:gd name="T8" fmla="*/ 43 w 540"/>
                <a:gd name="T9" fmla="*/ 374 h 457"/>
                <a:gd name="T10" fmla="*/ 232 w 540"/>
                <a:gd name="T11" fmla="*/ 374 h 457"/>
                <a:gd name="T12" fmla="*/ 232 w 540"/>
                <a:gd name="T13" fmla="*/ 440 h 457"/>
                <a:gd name="T14" fmla="*/ 168 w 540"/>
                <a:gd name="T15" fmla="*/ 440 h 457"/>
                <a:gd name="T16" fmla="*/ 168 w 540"/>
                <a:gd name="T17" fmla="*/ 457 h 457"/>
                <a:gd name="T18" fmla="*/ 372 w 540"/>
                <a:gd name="T19" fmla="*/ 457 h 457"/>
                <a:gd name="T20" fmla="*/ 372 w 540"/>
                <a:gd name="T21" fmla="*/ 440 h 457"/>
                <a:gd name="T22" fmla="*/ 308 w 540"/>
                <a:gd name="T23" fmla="*/ 440 h 457"/>
                <a:gd name="T24" fmla="*/ 308 w 540"/>
                <a:gd name="T25" fmla="*/ 374 h 457"/>
                <a:gd name="T26" fmla="*/ 496 w 540"/>
                <a:gd name="T27" fmla="*/ 374 h 457"/>
                <a:gd name="T28" fmla="*/ 540 w 540"/>
                <a:gd name="T29" fmla="*/ 331 h 457"/>
                <a:gd name="T30" fmla="*/ 540 w 540"/>
                <a:gd name="T31" fmla="*/ 44 h 457"/>
                <a:gd name="T32" fmla="*/ 496 w 540"/>
                <a:gd name="T33" fmla="*/ 0 h 457"/>
                <a:gd name="T34" fmla="*/ 290 w 540"/>
                <a:gd name="T35" fmla="*/ 440 h 457"/>
                <a:gd name="T36" fmla="*/ 249 w 540"/>
                <a:gd name="T37" fmla="*/ 440 h 457"/>
                <a:gd name="T38" fmla="*/ 249 w 540"/>
                <a:gd name="T39" fmla="*/ 374 h 457"/>
                <a:gd name="T40" fmla="*/ 290 w 540"/>
                <a:gd name="T41" fmla="*/ 374 h 457"/>
                <a:gd name="T42" fmla="*/ 290 w 540"/>
                <a:gd name="T43" fmla="*/ 440 h 457"/>
                <a:gd name="T44" fmla="*/ 522 w 540"/>
                <a:gd name="T45" fmla="*/ 331 h 457"/>
                <a:gd name="T46" fmla="*/ 496 w 540"/>
                <a:gd name="T47" fmla="*/ 357 h 457"/>
                <a:gd name="T48" fmla="*/ 43 w 540"/>
                <a:gd name="T49" fmla="*/ 357 h 457"/>
                <a:gd name="T50" fmla="*/ 17 w 540"/>
                <a:gd name="T51" fmla="*/ 331 h 457"/>
                <a:gd name="T52" fmla="*/ 17 w 540"/>
                <a:gd name="T53" fmla="*/ 44 h 457"/>
                <a:gd name="T54" fmla="*/ 43 w 540"/>
                <a:gd name="T55" fmla="*/ 18 h 457"/>
                <a:gd name="T56" fmla="*/ 496 w 540"/>
                <a:gd name="T57" fmla="*/ 18 h 457"/>
                <a:gd name="T58" fmla="*/ 522 w 540"/>
                <a:gd name="T59" fmla="*/ 44 h 457"/>
                <a:gd name="T60" fmla="*/ 522 w 540"/>
                <a:gd name="T61" fmla="*/ 331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0" h="457">
                  <a:moveTo>
                    <a:pt x="496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19" y="0"/>
                    <a:pt x="0" y="20"/>
                    <a:pt x="0" y="44"/>
                  </a:cubicBezTo>
                  <a:cubicBezTo>
                    <a:pt x="0" y="331"/>
                    <a:pt x="0" y="331"/>
                    <a:pt x="0" y="331"/>
                  </a:cubicBezTo>
                  <a:cubicBezTo>
                    <a:pt x="0" y="355"/>
                    <a:pt x="19" y="374"/>
                    <a:pt x="43" y="374"/>
                  </a:cubicBezTo>
                  <a:cubicBezTo>
                    <a:pt x="232" y="374"/>
                    <a:pt x="232" y="374"/>
                    <a:pt x="232" y="374"/>
                  </a:cubicBezTo>
                  <a:cubicBezTo>
                    <a:pt x="232" y="440"/>
                    <a:pt x="232" y="440"/>
                    <a:pt x="232" y="440"/>
                  </a:cubicBezTo>
                  <a:cubicBezTo>
                    <a:pt x="168" y="440"/>
                    <a:pt x="168" y="440"/>
                    <a:pt x="168" y="440"/>
                  </a:cubicBezTo>
                  <a:cubicBezTo>
                    <a:pt x="168" y="457"/>
                    <a:pt x="168" y="457"/>
                    <a:pt x="168" y="457"/>
                  </a:cubicBezTo>
                  <a:cubicBezTo>
                    <a:pt x="372" y="457"/>
                    <a:pt x="372" y="457"/>
                    <a:pt x="372" y="457"/>
                  </a:cubicBezTo>
                  <a:cubicBezTo>
                    <a:pt x="372" y="440"/>
                    <a:pt x="372" y="440"/>
                    <a:pt x="372" y="440"/>
                  </a:cubicBezTo>
                  <a:cubicBezTo>
                    <a:pt x="308" y="440"/>
                    <a:pt x="308" y="440"/>
                    <a:pt x="308" y="440"/>
                  </a:cubicBezTo>
                  <a:cubicBezTo>
                    <a:pt x="308" y="374"/>
                    <a:pt x="308" y="374"/>
                    <a:pt x="308" y="374"/>
                  </a:cubicBezTo>
                  <a:cubicBezTo>
                    <a:pt x="496" y="374"/>
                    <a:pt x="496" y="374"/>
                    <a:pt x="496" y="374"/>
                  </a:cubicBezTo>
                  <a:cubicBezTo>
                    <a:pt x="520" y="374"/>
                    <a:pt x="540" y="355"/>
                    <a:pt x="540" y="331"/>
                  </a:cubicBezTo>
                  <a:cubicBezTo>
                    <a:pt x="540" y="44"/>
                    <a:pt x="540" y="44"/>
                    <a:pt x="540" y="44"/>
                  </a:cubicBezTo>
                  <a:cubicBezTo>
                    <a:pt x="540" y="20"/>
                    <a:pt x="520" y="0"/>
                    <a:pt x="496" y="0"/>
                  </a:cubicBezTo>
                  <a:close/>
                  <a:moveTo>
                    <a:pt x="290" y="440"/>
                  </a:moveTo>
                  <a:cubicBezTo>
                    <a:pt x="249" y="440"/>
                    <a:pt x="249" y="440"/>
                    <a:pt x="249" y="440"/>
                  </a:cubicBezTo>
                  <a:cubicBezTo>
                    <a:pt x="249" y="374"/>
                    <a:pt x="249" y="374"/>
                    <a:pt x="249" y="374"/>
                  </a:cubicBezTo>
                  <a:cubicBezTo>
                    <a:pt x="290" y="374"/>
                    <a:pt x="290" y="374"/>
                    <a:pt x="290" y="374"/>
                  </a:cubicBezTo>
                  <a:lnTo>
                    <a:pt x="290" y="440"/>
                  </a:lnTo>
                  <a:close/>
                  <a:moveTo>
                    <a:pt x="522" y="331"/>
                  </a:moveTo>
                  <a:cubicBezTo>
                    <a:pt x="522" y="345"/>
                    <a:pt x="510" y="357"/>
                    <a:pt x="496" y="357"/>
                  </a:cubicBezTo>
                  <a:cubicBezTo>
                    <a:pt x="43" y="357"/>
                    <a:pt x="43" y="357"/>
                    <a:pt x="43" y="357"/>
                  </a:cubicBezTo>
                  <a:cubicBezTo>
                    <a:pt x="29" y="357"/>
                    <a:pt x="17" y="345"/>
                    <a:pt x="17" y="331"/>
                  </a:cubicBezTo>
                  <a:cubicBezTo>
                    <a:pt x="17" y="44"/>
                    <a:pt x="17" y="44"/>
                    <a:pt x="17" y="44"/>
                  </a:cubicBezTo>
                  <a:cubicBezTo>
                    <a:pt x="17" y="29"/>
                    <a:pt x="29" y="18"/>
                    <a:pt x="43" y="18"/>
                  </a:cubicBezTo>
                  <a:cubicBezTo>
                    <a:pt x="496" y="18"/>
                    <a:pt x="496" y="18"/>
                    <a:pt x="496" y="18"/>
                  </a:cubicBezTo>
                  <a:cubicBezTo>
                    <a:pt x="510" y="18"/>
                    <a:pt x="522" y="29"/>
                    <a:pt x="522" y="44"/>
                  </a:cubicBezTo>
                  <a:lnTo>
                    <a:pt x="522" y="331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  <p:sp>
          <p:nvSpPr>
            <p:cNvPr id="14" name="Freeform 7"/>
            <p:cNvSpPr>
              <a:spLocks noEditPoints="1"/>
            </p:cNvSpPr>
            <p:nvPr/>
          </p:nvSpPr>
          <p:spPr bwMode="auto">
            <a:xfrm>
              <a:off x="2306638" y="2998788"/>
              <a:ext cx="1303338" cy="723900"/>
            </a:xfrm>
            <a:custGeom>
              <a:avLst/>
              <a:gdLst>
                <a:gd name="T0" fmla="*/ 429 w 438"/>
                <a:gd name="T1" fmla="*/ 0 h 244"/>
                <a:gd name="T2" fmla="*/ 390 w 438"/>
                <a:gd name="T3" fmla="*/ 0 h 244"/>
                <a:gd name="T4" fmla="*/ 390 w 438"/>
                <a:gd name="T5" fmla="*/ 18 h 244"/>
                <a:gd name="T6" fmla="*/ 405 w 438"/>
                <a:gd name="T7" fmla="*/ 18 h 244"/>
                <a:gd name="T8" fmla="*/ 307 w 438"/>
                <a:gd name="T9" fmla="*/ 101 h 244"/>
                <a:gd name="T10" fmla="*/ 294 w 438"/>
                <a:gd name="T11" fmla="*/ 98 h 244"/>
                <a:gd name="T12" fmla="*/ 274 w 438"/>
                <a:gd name="T13" fmla="*/ 106 h 244"/>
                <a:gd name="T14" fmla="*/ 251 w 438"/>
                <a:gd name="T15" fmla="*/ 97 h 244"/>
                <a:gd name="T16" fmla="*/ 225 w 438"/>
                <a:gd name="T17" fmla="*/ 72 h 244"/>
                <a:gd name="T18" fmla="*/ 199 w 438"/>
                <a:gd name="T19" fmla="*/ 98 h 244"/>
                <a:gd name="T20" fmla="*/ 205 w 438"/>
                <a:gd name="T21" fmla="*/ 115 h 244"/>
                <a:gd name="T22" fmla="*/ 182 w 438"/>
                <a:gd name="T23" fmla="*/ 162 h 244"/>
                <a:gd name="T24" fmla="*/ 179 w 438"/>
                <a:gd name="T25" fmla="*/ 162 h 244"/>
                <a:gd name="T26" fmla="*/ 160 w 438"/>
                <a:gd name="T27" fmla="*/ 170 h 244"/>
                <a:gd name="T28" fmla="*/ 123 w 438"/>
                <a:gd name="T29" fmla="*/ 147 h 244"/>
                <a:gd name="T30" fmla="*/ 124 w 438"/>
                <a:gd name="T31" fmla="*/ 143 h 244"/>
                <a:gd name="T32" fmla="*/ 98 w 438"/>
                <a:gd name="T33" fmla="*/ 117 h 244"/>
                <a:gd name="T34" fmla="*/ 72 w 438"/>
                <a:gd name="T35" fmla="*/ 143 h 244"/>
                <a:gd name="T36" fmla="*/ 75 w 438"/>
                <a:gd name="T37" fmla="*/ 157 h 244"/>
                <a:gd name="T38" fmla="*/ 0 w 438"/>
                <a:gd name="T39" fmla="*/ 231 h 244"/>
                <a:gd name="T40" fmla="*/ 12 w 438"/>
                <a:gd name="T41" fmla="*/ 244 h 244"/>
                <a:gd name="T42" fmla="*/ 88 w 438"/>
                <a:gd name="T43" fmla="*/ 168 h 244"/>
                <a:gd name="T44" fmla="*/ 97 w 438"/>
                <a:gd name="T45" fmla="*/ 169 h 244"/>
                <a:gd name="T46" fmla="*/ 115 w 438"/>
                <a:gd name="T47" fmla="*/ 162 h 244"/>
                <a:gd name="T48" fmla="*/ 153 w 438"/>
                <a:gd name="T49" fmla="*/ 185 h 244"/>
                <a:gd name="T50" fmla="*/ 153 w 438"/>
                <a:gd name="T51" fmla="*/ 188 h 244"/>
                <a:gd name="T52" fmla="*/ 179 w 438"/>
                <a:gd name="T53" fmla="*/ 214 h 244"/>
                <a:gd name="T54" fmla="*/ 205 w 438"/>
                <a:gd name="T55" fmla="*/ 188 h 244"/>
                <a:gd name="T56" fmla="*/ 198 w 438"/>
                <a:gd name="T57" fmla="*/ 170 h 244"/>
                <a:gd name="T58" fmla="*/ 220 w 438"/>
                <a:gd name="T59" fmla="*/ 124 h 244"/>
                <a:gd name="T60" fmla="*/ 225 w 438"/>
                <a:gd name="T61" fmla="*/ 124 h 244"/>
                <a:gd name="T62" fmla="*/ 246 w 438"/>
                <a:gd name="T63" fmla="*/ 113 h 244"/>
                <a:gd name="T64" fmla="*/ 268 w 438"/>
                <a:gd name="T65" fmla="*/ 122 h 244"/>
                <a:gd name="T66" fmla="*/ 268 w 438"/>
                <a:gd name="T67" fmla="*/ 124 h 244"/>
                <a:gd name="T68" fmla="*/ 294 w 438"/>
                <a:gd name="T69" fmla="*/ 150 h 244"/>
                <a:gd name="T70" fmla="*/ 320 w 438"/>
                <a:gd name="T71" fmla="*/ 124 h 244"/>
                <a:gd name="T72" fmla="*/ 318 w 438"/>
                <a:gd name="T73" fmla="*/ 114 h 244"/>
                <a:gd name="T74" fmla="*/ 420 w 438"/>
                <a:gd name="T75" fmla="*/ 28 h 244"/>
                <a:gd name="T76" fmla="*/ 420 w 438"/>
                <a:gd name="T77" fmla="*/ 49 h 244"/>
                <a:gd name="T78" fmla="*/ 438 w 438"/>
                <a:gd name="T79" fmla="*/ 49 h 244"/>
                <a:gd name="T80" fmla="*/ 438 w 438"/>
                <a:gd name="T81" fmla="*/ 9 h 244"/>
                <a:gd name="T82" fmla="*/ 429 w 438"/>
                <a:gd name="T83" fmla="*/ 0 h 244"/>
                <a:gd name="T84" fmla="*/ 97 w 438"/>
                <a:gd name="T85" fmla="*/ 152 h 244"/>
                <a:gd name="T86" fmla="*/ 88 w 438"/>
                <a:gd name="T87" fmla="*/ 143 h 244"/>
                <a:gd name="T88" fmla="*/ 97 w 438"/>
                <a:gd name="T89" fmla="*/ 134 h 244"/>
                <a:gd name="T90" fmla="*/ 106 w 438"/>
                <a:gd name="T91" fmla="*/ 143 h 244"/>
                <a:gd name="T92" fmla="*/ 97 w 438"/>
                <a:gd name="T93" fmla="*/ 152 h 244"/>
                <a:gd name="T94" fmla="*/ 179 w 438"/>
                <a:gd name="T95" fmla="*/ 196 h 244"/>
                <a:gd name="T96" fmla="*/ 170 w 438"/>
                <a:gd name="T97" fmla="*/ 188 h 244"/>
                <a:gd name="T98" fmla="*/ 179 w 438"/>
                <a:gd name="T99" fmla="*/ 179 h 244"/>
                <a:gd name="T100" fmla="*/ 188 w 438"/>
                <a:gd name="T101" fmla="*/ 188 h 244"/>
                <a:gd name="T102" fmla="*/ 179 w 438"/>
                <a:gd name="T103" fmla="*/ 196 h 244"/>
                <a:gd name="T104" fmla="*/ 225 w 438"/>
                <a:gd name="T105" fmla="*/ 106 h 244"/>
                <a:gd name="T106" fmla="*/ 216 w 438"/>
                <a:gd name="T107" fmla="*/ 98 h 244"/>
                <a:gd name="T108" fmla="*/ 225 w 438"/>
                <a:gd name="T109" fmla="*/ 89 h 244"/>
                <a:gd name="T110" fmla="*/ 234 w 438"/>
                <a:gd name="T111" fmla="*/ 98 h 244"/>
                <a:gd name="T112" fmla="*/ 225 w 438"/>
                <a:gd name="T113" fmla="*/ 106 h 244"/>
                <a:gd name="T114" fmla="*/ 294 w 438"/>
                <a:gd name="T115" fmla="*/ 132 h 244"/>
                <a:gd name="T116" fmla="*/ 285 w 438"/>
                <a:gd name="T117" fmla="*/ 123 h 244"/>
                <a:gd name="T118" fmla="*/ 294 w 438"/>
                <a:gd name="T119" fmla="*/ 114 h 244"/>
                <a:gd name="T120" fmla="*/ 303 w 438"/>
                <a:gd name="T121" fmla="*/ 123 h 244"/>
                <a:gd name="T122" fmla="*/ 294 w 438"/>
                <a:gd name="T123" fmla="*/ 132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8" h="244">
                  <a:moveTo>
                    <a:pt x="429" y="0"/>
                  </a:moveTo>
                  <a:cubicBezTo>
                    <a:pt x="390" y="0"/>
                    <a:pt x="390" y="0"/>
                    <a:pt x="390" y="0"/>
                  </a:cubicBezTo>
                  <a:cubicBezTo>
                    <a:pt x="390" y="18"/>
                    <a:pt x="390" y="18"/>
                    <a:pt x="390" y="18"/>
                  </a:cubicBezTo>
                  <a:cubicBezTo>
                    <a:pt x="405" y="18"/>
                    <a:pt x="405" y="18"/>
                    <a:pt x="405" y="18"/>
                  </a:cubicBezTo>
                  <a:cubicBezTo>
                    <a:pt x="307" y="101"/>
                    <a:pt x="307" y="101"/>
                    <a:pt x="307" y="101"/>
                  </a:cubicBezTo>
                  <a:cubicBezTo>
                    <a:pt x="303" y="99"/>
                    <a:pt x="299" y="98"/>
                    <a:pt x="294" y="98"/>
                  </a:cubicBezTo>
                  <a:cubicBezTo>
                    <a:pt x="286" y="98"/>
                    <a:pt x="279" y="101"/>
                    <a:pt x="274" y="106"/>
                  </a:cubicBezTo>
                  <a:cubicBezTo>
                    <a:pt x="251" y="97"/>
                    <a:pt x="251" y="97"/>
                    <a:pt x="251" y="97"/>
                  </a:cubicBezTo>
                  <a:cubicBezTo>
                    <a:pt x="250" y="83"/>
                    <a:pt x="239" y="72"/>
                    <a:pt x="225" y="72"/>
                  </a:cubicBezTo>
                  <a:cubicBezTo>
                    <a:pt x="210" y="72"/>
                    <a:pt x="199" y="84"/>
                    <a:pt x="199" y="98"/>
                  </a:cubicBezTo>
                  <a:cubicBezTo>
                    <a:pt x="199" y="105"/>
                    <a:pt x="201" y="111"/>
                    <a:pt x="205" y="115"/>
                  </a:cubicBezTo>
                  <a:cubicBezTo>
                    <a:pt x="182" y="162"/>
                    <a:pt x="182" y="162"/>
                    <a:pt x="182" y="162"/>
                  </a:cubicBezTo>
                  <a:cubicBezTo>
                    <a:pt x="181" y="162"/>
                    <a:pt x="180" y="162"/>
                    <a:pt x="179" y="162"/>
                  </a:cubicBezTo>
                  <a:cubicBezTo>
                    <a:pt x="172" y="162"/>
                    <a:pt x="165" y="165"/>
                    <a:pt x="160" y="170"/>
                  </a:cubicBezTo>
                  <a:cubicBezTo>
                    <a:pt x="123" y="147"/>
                    <a:pt x="123" y="147"/>
                    <a:pt x="123" y="147"/>
                  </a:cubicBezTo>
                  <a:cubicBezTo>
                    <a:pt x="123" y="146"/>
                    <a:pt x="124" y="144"/>
                    <a:pt x="124" y="143"/>
                  </a:cubicBezTo>
                  <a:cubicBezTo>
                    <a:pt x="124" y="129"/>
                    <a:pt x="112" y="117"/>
                    <a:pt x="98" y="117"/>
                  </a:cubicBezTo>
                  <a:cubicBezTo>
                    <a:pt x="83" y="117"/>
                    <a:pt x="72" y="129"/>
                    <a:pt x="72" y="143"/>
                  </a:cubicBezTo>
                  <a:cubicBezTo>
                    <a:pt x="72" y="148"/>
                    <a:pt x="73" y="153"/>
                    <a:pt x="75" y="157"/>
                  </a:cubicBezTo>
                  <a:cubicBezTo>
                    <a:pt x="0" y="231"/>
                    <a:pt x="0" y="231"/>
                    <a:pt x="0" y="231"/>
                  </a:cubicBezTo>
                  <a:cubicBezTo>
                    <a:pt x="12" y="244"/>
                    <a:pt x="12" y="244"/>
                    <a:pt x="12" y="244"/>
                  </a:cubicBezTo>
                  <a:cubicBezTo>
                    <a:pt x="88" y="168"/>
                    <a:pt x="88" y="168"/>
                    <a:pt x="88" y="168"/>
                  </a:cubicBezTo>
                  <a:cubicBezTo>
                    <a:pt x="91" y="169"/>
                    <a:pt x="94" y="169"/>
                    <a:pt x="97" y="169"/>
                  </a:cubicBezTo>
                  <a:cubicBezTo>
                    <a:pt x="104" y="169"/>
                    <a:pt x="110" y="166"/>
                    <a:pt x="115" y="162"/>
                  </a:cubicBezTo>
                  <a:cubicBezTo>
                    <a:pt x="153" y="185"/>
                    <a:pt x="153" y="185"/>
                    <a:pt x="153" y="185"/>
                  </a:cubicBezTo>
                  <a:cubicBezTo>
                    <a:pt x="153" y="186"/>
                    <a:pt x="153" y="187"/>
                    <a:pt x="153" y="188"/>
                  </a:cubicBezTo>
                  <a:cubicBezTo>
                    <a:pt x="153" y="202"/>
                    <a:pt x="164" y="214"/>
                    <a:pt x="179" y="214"/>
                  </a:cubicBezTo>
                  <a:cubicBezTo>
                    <a:pt x="193" y="214"/>
                    <a:pt x="205" y="202"/>
                    <a:pt x="205" y="188"/>
                  </a:cubicBezTo>
                  <a:cubicBezTo>
                    <a:pt x="205" y="181"/>
                    <a:pt x="202" y="175"/>
                    <a:pt x="198" y="170"/>
                  </a:cubicBezTo>
                  <a:cubicBezTo>
                    <a:pt x="220" y="124"/>
                    <a:pt x="220" y="124"/>
                    <a:pt x="220" y="124"/>
                  </a:cubicBezTo>
                  <a:cubicBezTo>
                    <a:pt x="222" y="124"/>
                    <a:pt x="223" y="124"/>
                    <a:pt x="225" y="124"/>
                  </a:cubicBezTo>
                  <a:cubicBezTo>
                    <a:pt x="234" y="124"/>
                    <a:pt x="241" y="120"/>
                    <a:pt x="246" y="113"/>
                  </a:cubicBezTo>
                  <a:cubicBezTo>
                    <a:pt x="268" y="122"/>
                    <a:pt x="268" y="122"/>
                    <a:pt x="268" y="122"/>
                  </a:cubicBezTo>
                  <a:cubicBezTo>
                    <a:pt x="268" y="123"/>
                    <a:pt x="268" y="123"/>
                    <a:pt x="268" y="124"/>
                  </a:cubicBezTo>
                  <a:cubicBezTo>
                    <a:pt x="268" y="138"/>
                    <a:pt x="280" y="150"/>
                    <a:pt x="294" y="150"/>
                  </a:cubicBezTo>
                  <a:cubicBezTo>
                    <a:pt x="308" y="150"/>
                    <a:pt x="320" y="138"/>
                    <a:pt x="320" y="124"/>
                  </a:cubicBezTo>
                  <a:cubicBezTo>
                    <a:pt x="320" y="120"/>
                    <a:pt x="319" y="117"/>
                    <a:pt x="318" y="114"/>
                  </a:cubicBezTo>
                  <a:cubicBezTo>
                    <a:pt x="420" y="28"/>
                    <a:pt x="420" y="28"/>
                    <a:pt x="420" y="28"/>
                  </a:cubicBezTo>
                  <a:cubicBezTo>
                    <a:pt x="420" y="49"/>
                    <a:pt x="420" y="49"/>
                    <a:pt x="420" y="49"/>
                  </a:cubicBezTo>
                  <a:cubicBezTo>
                    <a:pt x="438" y="49"/>
                    <a:pt x="438" y="49"/>
                    <a:pt x="438" y="49"/>
                  </a:cubicBezTo>
                  <a:cubicBezTo>
                    <a:pt x="438" y="9"/>
                    <a:pt x="438" y="9"/>
                    <a:pt x="438" y="9"/>
                  </a:cubicBezTo>
                  <a:cubicBezTo>
                    <a:pt x="438" y="4"/>
                    <a:pt x="434" y="0"/>
                    <a:pt x="429" y="0"/>
                  </a:cubicBezTo>
                  <a:close/>
                  <a:moveTo>
                    <a:pt x="97" y="152"/>
                  </a:moveTo>
                  <a:cubicBezTo>
                    <a:pt x="92" y="152"/>
                    <a:pt x="88" y="148"/>
                    <a:pt x="88" y="143"/>
                  </a:cubicBezTo>
                  <a:cubicBezTo>
                    <a:pt x="88" y="138"/>
                    <a:pt x="92" y="134"/>
                    <a:pt x="97" y="134"/>
                  </a:cubicBezTo>
                  <a:cubicBezTo>
                    <a:pt x="102" y="134"/>
                    <a:pt x="106" y="138"/>
                    <a:pt x="106" y="143"/>
                  </a:cubicBezTo>
                  <a:cubicBezTo>
                    <a:pt x="106" y="148"/>
                    <a:pt x="102" y="152"/>
                    <a:pt x="97" y="152"/>
                  </a:cubicBezTo>
                  <a:close/>
                  <a:moveTo>
                    <a:pt x="179" y="196"/>
                  </a:moveTo>
                  <a:cubicBezTo>
                    <a:pt x="174" y="196"/>
                    <a:pt x="170" y="192"/>
                    <a:pt x="170" y="188"/>
                  </a:cubicBezTo>
                  <a:cubicBezTo>
                    <a:pt x="170" y="183"/>
                    <a:pt x="174" y="179"/>
                    <a:pt x="179" y="179"/>
                  </a:cubicBezTo>
                  <a:cubicBezTo>
                    <a:pt x="184" y="179"/>
                    <a:pt x="188" y="183"/>
                    <a:pt x="188" y="188"/>
                  </a:cubicBezTo>
                  <a:cubicBezTo>
                    <a:pt x="188" y="193"/>
                    <a:pt x="184" y="196"/>
                    <a:pt x="179" y="196"/>
                  </a:cubicBezTo>
                  <a:close/>
                  <a:moveTo>
                    <a:pt x="225" y="106"/>
                  </a:moveTo>
                  <a:cubicBezTo>
                    <a:pt x="220" y="106"/>
                    <a:pt x="216" y="102"/>
                    <a:pt x="216" y="98"/>
                  </a:cubicBezTo>
                  <a:cubicBezTo>
                    <a:pt x="216" y="93"/>
                    <a:pt x="220" y="89"/>
                    <a:pt x="225" y="89"/>
                  </a:cubicBezTo>
                  <a:cubicBezTo>
                    <a:pt x="230" y="89"/>
                    <a:pt x="234" y="93"/>
                    <a:pt x="234" y="98"/>
                  </a:cubicBezTo>
                  <a:cubicBezTo>
                    <a:pt x="234" y="102"/>
                    <a:pt x="230" y="106"/>
                    <a:pt x="225" y="106"/>
                  </a:cubicBezTo>
                  <a:close/>
                  <a:moveTo>
                    <a:pt x="294" y="132"/>
                  </a:moveTo>
                  <a:cubicBezTo>
                    <a:pt x="289" y="132"/>
                    <a:pt x="285" y="128"/>
                    <a:pt x="285" y="123"/>
                  </a:cubicBezTo>
                  <a:cubicBezTo>
                    <a:pt x="285" y="118"/>
                    <a:pt x="289" y="114"/>
                    <a:pt x="294" y="114"/>
                  </a:cubicBezTo>
                  <a:cubicBezTo>
                    <a:pt x="299" y="114"/>
                    <a:pt x="303" y="118"/>
                    <a:pt x="303" y="123"/>
                  </a:cubicBezTo>
                  <a:cubicBezTo>
                    <a:pt x="303" y="128"/>
                    <a:pt x="299" y="132"/>
                    <a:pt x="294" y="132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</p:grpSp>
      <p:sp>
        <p:nvSpPr>
          <p:cNvPr id="9" name="Rectangle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231772" y="4992830"/>
            <a:ext cx="179247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0"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latin typeface="+mj-lt"/>
                <a:cs typeface="Poppins" panose="00000500000000000000" pitchFamily="2" charset="0"/>
              </a:rPr>
              <a:t>We're Trusted</a:t>
            </a:r>
          </a:p>
        </p:txBody>
      </p:sp>
      <p:sp>
        <p:nvSpPr>
          <p:cNvPr id="10" name="Rectangle 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231773" y="5300611"/>
            <a:ext cx="2191478" cy="6126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accent1">
                    <a:lumMod val="25000"/>
                    <a:lumOff val="75000"/>
                  </a:schemeClr>
                </a:solidFill>
                <a:cs typeface="等线" panose="02010600030101010101" charset="-122"/>
              </a:rPr>
              <a:t>Lorem ipsum dolor sit </a:t>
            </a:r>
            <a:r>
              <a:rPr lang="en-US" sz="1200" dirty="0" err="1">
                <a:solidFill>
                  <a:schemeClr val="accent1">
                    <a:lumMod val="25000"/>
                    <a:lumOff val="75000"/>
                  </a:schemeClr>
                </a:solidFill>
                <a:cs typeface="等线" panose="02010600030101010101" charset="-122"/>
              </a:rPr>
              <a:t>adipiscing</a:t>
            </a:r>
            <a:r>
              <a:rPr lang="en-US" sz="1200" dirty="0">
                <a:solidFill>
                  <a:schemeClr val="accent1">
                    <a:lumMod val="25000"/>
                    <a:lumOff val="75000"/>
                  </a:schemeClr>
                </a:solidFill>
                <a:cs typeface="等线" panose="02010600030101010101" charset="-122"/>
              </a:rPr>
              <a:t> sed diam.</a:t>
            </a:r>
          </a:p>
        </p:txBody>
      </p:sp>
      <p:grpSp>
        <p:nvGrpSpPr>
          <p:cNvPr id="23" name="Group 2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300826" y="5020360"/>
            <a:ext cx="600528" cy="506362"/>
            <a:chOff x="6883116" y="4781908"/>
            <a:chExt cx="1609725" cy="1357313"/>
          </a:xfrm>
          <a:solidFill>
            <a:schemeClr val="accent1">
              <a:lumMod val="75000"/>
              <a:lumOff val="25000"/>
            </a:schemeClr>
          </a:solidFill>
          <a:effectLst/>
        </p:grpSpPr>
        <p:sp>
          <p:nvSpPr>
            <p:cNvPr id="16" name="Freeform 8"/>
            <p:cNvSpPr>
              <a:spLocks noEditPoints="1"/>
            </p:cNvSpPr>
            <p:nvPr/>
          </p:nvSpPr>
          <p:spPr bwMode="auto">
            <a:xfrm>
              <a:off x="7348253" y="4908908"/>
              <a:ext cx="676275" cy="844550"/>
            </a:xfrm>
            <a:custGeom>
              <a:avLst/>
              <a:gdLst>
                <a:gd name="T0" fmla="*/ 152 w 227"/>
                <a:gd name="T1" fmla="*/ 153 h 284"/>
                <a:gd name="T2" fmla="*/ 146 w 227"/>
                <a:gd name="T3" fmla="*/ 148 h 284"/>
                <a:gd name="T4" fmla="*/ 177 w 227"/>
                <a:gd name="T5" fmla="*/ 66 h 284"/>
                <a:gd name="T6" fmla="*/ 158 w 227"/>
                <a:gd name="T7" fmla="*/ 16 h 284"/>
                <a:gd name="T8" fmla="*/ 114 w 227"/>
                <a:gd name="T9" fmla="*/ 0 h 284"/>
                <a:gd name="T10" fmla="*/ 69 w 227"/>
                <a:gd name="T11" fmla="*/ 16 h 284"/>
                <a:gd name="T12" fmla="*/ 50 w 227"/>
                <a:gd name="T13" fmla="*/ 66 h 284"/>
                <a:gd name="T14" fmla="*/ 81 w 227"/>
                <a:gd name="T15" fmla="*/ 148 h 284"/>
                <a:gd name="T16" fmla="*/ 75 w 227"/>
                <a:gd name="T17" fmla="*/ 153 h 284"/>
                <a:gd name="T18" fmla="*/ 7 w 227"/>
                <a:gd name="T19" fmla="*/ 184 h 284"/>
                <a:gd name="T20" fmla="*/ 8 w 227"/>
                <a:gd name="T21" fmla="*/ 263 h 284"/>
                <a:gd name="T22" fmla="*/ 34 w 227"/>
                <a:gd name="T23" fmla="*/ 284 h 284"/>
                <a:gd name="T24" fmla="*/ 193 w 227"/>
                <a:gd name="T25" fmla="*/ 284 h 284"/>
                <a:gd name="T26" fmla="*/ 219 w 227"/>
                <a:gd name="T27" fmla="*/ 263 h 284"/>
                <a:gd name="T28" fmla="*/ 219 w 227"/>
                <a:gd name="T29" fmla="*/ 184 h 284"/>
                <a:gd name="T30" fmla="*/ 152 w 227"/>
                <a:gd name="T31" fmla="*/ 153 h 284"/>
                <a:gd name="T32" fmla="*/ 68 w 227"/>
                <a:gd name="T33" fmla="*/ 66 h 284"/>
                <a:gd name="T34" fmla="*/ 81 w 227"/>
                <a:gd name="T35" fmla="*/ 29 h 284"/>
                <a:gd name="T36" fmla="*/ 112 w 227"/>
                <a:gd name="T37" fmla="*/ 18 h 284"/>
                <a:gd name="T38" fmla="*/ 113 w 227"/>
                <a:gd name="T39" fmla="*/ 18 h 284"/>
                <a:gd name="T40" fmla="*/ 114 w 227"/>
                <a:gd name="T41" fmla="*/ 18 h 284"/>
                <a:gd name="T42" fmla="*/ 146 w 227"/>
                <a:gd name="T43" fmla="*/ 29 h 284"/>
                <a:gd name="T44" fmla="*/ 159 w 227"/>
                <a:gd name="T45" fmla="*/ 66 h 284"/>
                <a:gd name="T46" fmla="*/ 130 w 227"/>
                <a:gd name="T47" fmla="*/ 138 h 284"/>
                <a:gd name="T48" fmla="*/ 128 w 227"/>
                <a:gd name="T49" fmla="*/ 140 h 284"/>
                <a:gd name="T50" fmla="*/ 126 w 227"/>
                <a:gd name="T51" fmla="*/ 140 h 284"/>
                <a:gd name="T52" fmla="*/ 122 w 227"/>
                <a:gd name="T53" fmla="*/ 142 h 284"/>
                <a:gd name="T54" fmla="*/ 122 w 227"/>
                <a:gd name="T55" fmla="*/ 142 h 284"/>
                <a:gd name="T56" fmla="*/ 105 w 227"/>
                <a:gd name="T57" fmla="*/ 142 h 284"/>
                <a:gd name="T58" fmla="*/ 105 w 227"/>
                <a:gd name="T59" fmla="*/ 142 h 284"/>
                <a:gd name="T60" fmla="*/ 101 w 227"/>
                <a:gd name="T61" fmla="*/ 140 h 284"/>
                <a:gd name="T62" fmla="*/ 100 w 227"/>
                <a:gd name="T63" fmla="*/ 140 h 284"/>
                <a:gd name="T64" fmla="*/ 97 w 227"/>
                <a:gd name="T65" fmla="*/ 138 h 284"/>
                <a:gd name="T66" fmla="*/ 68 w 227"/>
                <a:gd name="T67" fmla="*/ 66 h 284"/>
                <a:gd name="T68" fmla="*/ 202 w 227"/>
                <a:gd name="T69" fmla="*/ 259 h 284"/>
                <a:gd name="T70" fmla="*/ 194 w 227"/>
                <a:gd name="T71" fmla="*/ 266 h 284"/>
                <a:gd name="T72" fmla="*/ 34 w 227"/>
                <a:gd name="T73" fmla="*/ 266 h 284"/>
                <a:gd name="T74" fmla="*/ 25 w 227"/>
                <a:gd name="T75" fmla="*/ 259 h 284"/>
                <a:gd name="T76" fmla="*/ 22 w 227"/>
                <a:gd name="T77" fmla="*/ 193 h 284"/>
                <a:gd name="T78" fmla="*/ 79 w 227"/>
                <a:gd name="T79" fmla="*/ 170 h 284"/>
                <a:gd name="T80" fmla="*/ 96 w 227"/>
                <a:gd name="T81" fmla="*/ 157 h 284"/>
                <a:gd name="T82" fmla="*/ 99 w 227"/>
                <a:gd name="T83" fmla="*/ 158 h 284"/>
                <a:gd name="T84" fmla="*/ 101 w 227"/>
                <a:gd name="T85" fmla="*/ 158 h 284"/>
                <a:gd name="T86" fmla="*/ 104 w 227"/>
                <a:gd name="T87" fmla="*/ 159 h 284"/>
                <a:gd name="T88" fmla="*/ 106 w 227"/>
                <a:gd name="T89" fmla="*/ 160 h 284"/>
                <a:gd name="T90" fmla="*/ 109 w 227"/>
                <a:gd name="T91" fmla="*/ 160 h 284"/>
                <a:gd name="T92" fmla="*/ 111 w 227"/>
                <a:gd name="T93" fmla="*/ 160 h 284"/>
                <a:gd name="T94" fmla="*/ 114 w 227"/>
                <a:gd name="T95" fmla="*/ 160 h 284"/>
                <a:gd name="T96" fmla="*/ 116 w 227"/>
                <a:gd name="T97" fmla="*/ 160 h 284"/>
                <a:gd name="T98" fmla="*/ 118 w 227"/>
                <a:gd name="T99" fmla="*/ 160 h 284"/>
                <a:gd name="T100" fmla="*/ 121 w 227"/>
                <a:gd name="T101" fmla="*/ 160 h 284"/>
                <a:gd name="T102" fmla="*/ 124 w 227"/>
                <a:gd name="T103" fmla="*/ 159 h 284"/>
                <a:gd name="T104" fmla="*/ 126 w 227"/>
                <a:gd name="T105" fmla="*/ 158 h 284"/>
                <a:gd name="T106" fmla="*/ 128 w 227"/>
                <a:gd name="T107" fmla="*/ 158 h 284"/>
                <a:gd name="T108" fmla="*/ 131 w 227"/>
                <a:gd name="T109" fmla="*/ 157 h 284"/>
                <a:gd name="T110" fmla="*/ 148 w 227"/>
                <a:gd name="T111" fmla="*/ 170 h 284"/>
                <a:gd name="T112" fmla="*/ 205 w 227"/>
                <a:gd name="T113" fmla="*/ 193 h 284"/>
                <a:gd name="T114" fmla="*/ 205 w 227"/>
                <a:gd name="T115" fmla="*/ 193 h 284"/>
                <a:gd name="T116" fmla="*/ 202 w 227"/>
                <a:gd name="T117" fmla="*/ 25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6" h="284">
                  <a:moveTo>
                    <a:pt x="152" y="153"/>
                  </a:moveTo>
                  <a:cubicBezTo>
                    <a:pt x="150" y="152"/>
                    <a:pt x="148" y="150"/>
                    <a:pt x="146" y="148"/>
                  </a:cubicBezTo>
                  <a:cubicBezTo>
                    <a:pt x="164" y="134"/>
                    <a:pt x="177" y="106"/>
                    <a:pt x="177" y="66"/>
                  </a:cubicBezTo>
                  <a:cubicBezTo>
                    <a:pt x="177" y="44"/>
                    <a:pt x="171" y="28"/>
                    <a:pt x="158" y="16"/>
                  </a:cubicBezTo>
                  <a:cubicBezTo>
                    <a:pt x="141" y="0"/>
                    <a:pt x="117" y="0"/>
                    <a:pt x="114" y="0"/>
                  </a:cubicBezTo>
                  <a:cubicBezTo>
                    <a:pt x="110" y="0"/>
                    <a:pt x="86" y="0"/>
                    <a:pt x="69" y="16"/>
                  </a:cubicBezTo>
                  <a:cubicBezTo>
                    <a:pt x="56" y="28"/>
                    <a:pt x="50" y="44"/>
                    <a:pt x="50" y="66"/>
                  </a:cubicBezTo>
                  <a:cubicBezTo>
                    <a:pt x="50" y="106"/>
                    <a:pt x="64" y="134"/>
                    <a:pt x="81" y="148"/>
                  </a:cubicBezTo>
                  <a:cubicBezTo>
                    <a:pt x="80" y="151"/>
                    <a:pt x="78" y="152"/>
                    <a:pt x="75" y="153"/>
                  </a:cubicBezTo>
                  <a:cubicBezTo>
                    <a:pt x="38" y="161"/>
                    <a:pt x="15" y="171"/>
                    <a:pt x="7" y="184"/>
                  </a:cubicBezTo>
                  <a:cubicBezTo>
                    <a:pt x="0" y="196"/>
                    <a:pt x="0" y="223"/>
                    <a:pt x="8" y="263"/>
                  </a:cubicBezTo>
                  <a:cubicBezTo>
                    <a:pt x="10" y="275"/>
                    <a:pt x="21" y="284"/>
                    <a:pt x="34" y="284"/>
                  </a:cubicBezTo>
                  <a:cubicBezTo>
                    <a:pt x="193" y="284"/>
                    <a:pt x="193" y="284"/>
                    <a:pt x="193" y="284"/>
                  </a:cubicBezTo>
                  <a:cubicBezTo>
                    <a:pt x="205" y="284"/>
                    <a:pt x="216" y="275"/>
                    <a:pt x="219" y="263"/>
                  </a:cubicBezTo>
                  <a:cubicBezTo>
                    <a:pt x="227" y="223"/>
                    <a:pt x="227" y="196"/>
                    <a:pt x="219" y="184"/>
                  </a:cubicBezTo>
                  <a:cubicBezTo>
                    <a:pt x="212" y="171"/>
                    <a:pt x="189" y="161"/>
                    <a:pt x="152" y="153"/>
                  </a:cubicBezTo>
                  <a:close/>
                  <a:moveTo>
                    <a:pt x="68" y="66"/>
                  </a:moveTo>
                  <a:cubicBezTo>
                    <a:pt x="68" y="50"/>
                    <a:pt x="72" y="37"/>
                    <a:pt x="81" y="29"/>
                  </a:cubicBezTo>
                  <a:cubicBezTo>
                    <a:pt x="92" y="18"/>
                    <a:pt x="109" y="18"/>
                    <a:pt x="112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8"/>
                    <a:pt x="133" y="17"/>
                    <a:pt x="146" y="29"/>
                  </a:cubicBezTo>
                  <a:cubicBezTo>
                    <a:pt x="155" y="37"/>
                    <a:pt x="159" y="50"/>
                    <a:pt x="159" y="66"/>
                  </a:cubicBezTo>
                  <a:cubicBezTo>
                    <a:pt x="159" y="106"/>
                    <a:pt x="145" y="129"/>
                    <a:pt x="130" y="138"/>
                  </a:cubicBezTo>
                  <a:cubicBezTo>
                    <a:pt x="130" y="138"/>
                    <a:pt x="128" y="139"/>
                    <a:pt x="128" y="140"/>
                  </a:cubicBezTo>
                  <a:cubicBezTo>
                    <a:pt x="127" y="140"/>
                    <a:pt x="127" y="140"/>
                    <a:pt x="126" y="140"/>
                  </a:cubicBezTo>
                  <a:cubicBezTo>
                    <a:pt x="125" y="141"/>
                    <a:pt x="124" y="142"/>
                    <a:pt x="122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16" y="144"/>
                    <a:pt x="111" y="144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4" y="142"/>
                    <a:pt x="102" y="141"/>
                    <a:pt x="101" y="140"/>
                  </a:cubicBezTo>
                  <a:cubicBezTo>
                    <a:pt x="101" y="140"/>
                    <a:pt x="100" y="140"/>
                    <a:pt x="100" y="140"/>
                  </a:cubicBezTo>
                  <a:cubicBezTo>
                    <a:pt x="99" y="139"/>
                    <a:pt x="98" y="138"/>
                    <a:pt x="97" y="138"/>
                  </a:cubicBezTo>
                  <a:cubicBezTo>
                    <a:pt x="82" y="129"/>
                    <a:pt x="68" y="106"/>
                    <a:pt x="68" y="66"/>
                  </a:cubicBezTo>
                  <a:close/>
                  <a:moveTo>
                    <a:pt x="202" y="259"/>
                  </a:moveTo>
                  <a:cubicBezTo>
                    <a:pt x="202" y="263"/>
                    <a:pt x="198" y="266"/>
                    <a:pt x="194" y="266"/>
                  </a:cubicBezTo>
                  <a:cubicBezTo>
                    <a:pt x="34" y="266"/>
                    <a:pt x="34" y="266"/>
                    <a:pt x="34" y="266"/>
                  </a:cubicBezTo>
                  <a:cubicBezTo>
                    <a:pt x="30" y="266"/>
                    <a:pt x="26" y="263"/>
                    <a:pt x="25" y="259"/>
                  </a:cubicBezTo>
                  <a:cubicBezTo>
                    <a:pt x="17" y="220"/>
                    <a:pt x="19" y="199"/>
                    <a:pt x="22" y="193"/>
                  </a:cubicBezTo>
                  <a:cubicBezTo>
                    <a:pt x="26" y="187"/>
                    <a:pt x="43" y="178"/>
                    <a:pt x="79" y="170"/>
                  </a:cubicBezTo>
                  <a:cubicBezTo>
                    <a:pt x="86" y="168"/>
                    <a:pt x="92" y="163"/>
                    <a:pt x="96" y="157"/>
                  </a:cubicBezTo>
                  <a:cubicBezTo>
                    <a:pt x="97" y="158"/>
                    <a:pt x="98" y="158"/>
                    <a:pt x="99" y="158"/>
                  </a:cubicBezTo>
                  <a:cubicBezTo>
                    <a:pt x="100" y="158"/>
                    <a:pt x="100" y="158"/>
                    <a:pt x="101" y="158"/>
                  </a:cubicBezTo>
                  <a:cubicBezTo>
                    <a:pt x="102" y="159"/>
                    <a:pt x="103" y="159"/>
                    <a:pt x="104" y="159"/>
                  </a:cubicBezTo>
                  <a:cubicBezTo>
                    <a:pt x="104" y="159"/>
                    <a:pt x="105" y="160"/>
                    <a:pt x="106" y="160"/>
                  </a:cubicBezTo>
                  <a:cubicBezTo>
                    <a:pt x="107" y="160"/>
                    <a:pt x="108" y="160"/>
                    <a:pt x="109" y="160"/>
                  </a:cubicBezTo>
                  <a:cubicBezTo>
                    <a:pt x="110" y="160"/>
                    <a:pt x="110" y="160"/>
                    <a:pt x="111" y="160"/>
                  </a:cubicBezTo>
                  <a:cubicBezTo>
                    <a:pt x="112" y="160"/>
                    <a:pt x="113" y="160"/>
                    <a:pt x="114" y="160"/>
                  </a:cubicBezTo>
                  <a:cubicBezTo>
                    <a:pt x="114" y="160"/>
                    <a:pt x="115" y="160"/>
                    <a:pt x="116" y="160"/>
                  </a:cubicBezTo>
                  <a:cubicBezTo>
                    <a:pt x="117" y="160"/>
                    <a:pt x="118" y="160"/>
                    <a:pt x="118" y="160"/>
                  </a:cubicBezTo>
                  <a:cubicBezTo>
                    <a:pt x="119" y="160"/>
                    <a:pt x="120" y="160"/>
                    <a:pt x="121" y="160"/>
                  </a:cubicBezTo>
                  <a:cubicBezTo>
                    <a:pt x="122" y="160"/>
                    <a:pt x="123" y="159"/>
                    <a:pt x="124" y="159"/>
                  </a:cubicBezTo>
                  <a:cubicBezTo>
                    <a:pt x="124" y="159"/>
                    <a:pt x="126" y="159"/>
                    <a:pt x="126" y="158"/>
                  </a:cubicBezTo>
                  <a:cubicBezTo>
                    <a:pt x="127" y="158"/>
                    <a:pt x="128" y="158"/>
                    <a:pt x="128" y="158"/>
                  </a:cubicBezTo>
                  <a:cubicBezTo>
                    <a:pt x="129" y="158"/>
                    <a:pt x="130" y="158"/>
                    <a:pt x="131" y="157"/>
                  </a:cubicBezTo>
                  <a:cubicBezTo>
                    <a:pt x="134" y="164"/>
                    <a:pt x="141" y="168"/>
                    <a:pt x="148" y="170"/>
                  </a:cubicBezTo>
                  <a:cubicBezTo>
                    <a:pt x="184" y="177"/>
                    <a:pt x="201" y="187"/>
                    <a:pt x="205" y="193"/>
                  </a:cubicBezTo>
                  <a:cubicBezTo>
                    <a:pt x="205" y="193"/>
                    <a:pt x="205" y="193"/>
                    <a:pt x="205" y="193"/>
                  </a:cubicBezTo>
                  <a:cubicBezTo>
                    <a:pt x="209" y="199"/>
                    <a:pt x="210" y="220"/>
                    <a:pt x="202" y="259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6883116" y="4781908"/>
              <a:ext cx="1609725" cy="1357313"/>
            </a:xfrm>
            <a:custGeom>
              <a:avLst/>
              <a:gdLst>
                <a:gd name="T0" fmla="*/ 496 w 540"/>
                <a:gd name="T1" fmla="*/ 0 h 457"/>
                <a:gd name="T2" fmla="*/ 43 w 540"/>
                <a:gd name="T3" fmla="*/ 0 h 457"/>
                <a:gd name="T4" fmla="*/ 0 w 540"/>
                <a:gd name="T5" fmla="*/ 43 h 457"/>
                <a:gd name="T6" fmla="*/ 0 w 540"/>
                <a:gd name="T7" fmla="*/ 330 h 457"/>
                <a:gd name="T8" fmla="*/ 43 w 540"/>
                <a:gd name="T9" fmla="*/ 374 h 457"/>
                <a:gd name="T10" fmla="*/ 232 w 540"/>
                <a:gd name="T11" fmla="*/ 374 h 457"/>
                <a:gd name="T12" fmla="*/ 232 w 540"/>
                <a:gd name="T13" fmla="*/ 439 h 457"/>
                <a:gd name="T14" fmla="*/ 168 w 540"/>
                <a:gd name="T15" fmla="*/ 439 h 457"/>
                <a:gd name="T16" fmla="*/ 168 w 540"/>
                <a:gd name="T17" fmla="*/ 457 h 457"/>
                <a:gd name="T18" fmla="*/ 372 w 540"/>
                <a:gd name="T19" fmla="*/ 457 h 457"/>
                <a:gd name="T20" fmla="*/ 372 w 540"/>
                <a:gd name="T21" fmla="*/ 439 h 457"/>
                <a:gd name="T22" fmla="*/ 308 w 540"/>
                <a:gd name="T23" fmla="*/ 439 h 457"/>
                <a:gd name="T24" fmla="*/ 308 w 540"/>
                <a:gd name="T25" fmla="*/ 374 h 457"/>
                <a:gd name="T26" fmla="*/ 496 w 540"/>
                <a:gd name="T27" fmla="*/ 374 h 457"/>
                <a:gd name="T28" fmla="*/ 540 w 540"/>
                <a:gd name="T29" fmla="*/ 330 h 457"/>
                <a:gd name="T30" fmla="*/ 540 w 540"/>
                <a:gd name="T31" fmla="*/ 43 h 457"/>
                <a:gd name="T32" fmla="*/ 496 w 540"/>
                <a:gd name="T33" fmla="*/ 0 h 457"/>
                <a:gd name="T34" fmla="*/ 290 w 540"/>
                <a:gd name="T35" fmla="*/ 439 h 457"/>
                <a:gd name="T36" fmla="*/ 249 w 540"/>
                <a:gd name="T37" fmla="*/ 439 h 457"/>
                <a:gd name="T38" fmla="*/ 249 w 540"/>
                <a:gd name="T39" fmla="*/ 373 h 457"/>
                <a:gd name="T40" fmla="*/ 290 w 540"/>
                <a:gd name="T41" fmla="*/ 373 h 457"/>
                <a:gd name="T42" fmla="*/ 290 w 540"/>
                <a:gd name="T43" fmla="*/ 439 h 457"/>
                <a:gd name="T44" fmla="*/ 522 w 540"/>
                <a:gd name="T45" fmla="*/ 330 h 457"/>
                <a:gd name="T46" fmla="*/ 496 w 540"/>
                <a:gd name="T47" fmla="*/ 356 h 457"/>
                <a:gd name="T48" fmla="*/ 43 w 540"/>
                <a:gd name="T49" fmla="*/ 356 h 457"/>
                <a:gd name="T50" fmla="*/ 17 w 540"/>
                <a:gd name="T51" fmla="*/ 330 h 457"/>
                <a:gd name="T52" fmla="*/ 17 w 540"/>
                <a:gd name="T53" fmla="*/ 43 h 457"/>
                <a:gd name="T54" fmla="*/ 43 w 540"/>
                <a:gd name="T55" fmla="*/ 17 h 457"/>
                <a:gd name="T56" fmla="*/ 496 w 540"/>
                <a:gd name="T57" fmla="*/ 17 h 457"/>
                <a:gd name="T58" fmla="*/ 522 w 540"/>
                <a:gd name="T59" fmla="*/ 43 h 457"/>
                <a:gd name="T60" fmla="*/ 522 w 540"/>
                <a:gd name="T61" fmla="*/ 330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40" h="457">
                  <a:moveTo>
                    <a:pt x="496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19" y="0"/>
                    <a:pt x="0" y="19"/>
                    <a:pt x="0" y="43"/>
                  </a:cubicBezTo>
                  <a:cubicBezTo>
                    <a:pt x="0" y="330"/>
                    <a:pt x="0" y="330"/>
                    <a:pt x="0" y="330"/>
                  </a:cubicBezTo>
                  <a:cubicBezTo>
                    <a:pt x="0" y="354"/>
                    <a:pt x="19" y="374"/>
                    <a:pt x="43" y="374"/>
                  </a:cubicBezTo>
                  <a:cubicBezTo>
                    <a:pt x="232" y="374"/>
                    <a:pt x="232" y="374"/>
                    <a:pt x="232" y="374"/>
                  </a:cubicBezTo>
                  <a:cubicBezTo>
                    <a:pt x="232" y="439"/>
                    <a:pt x="232" y="439"/>
                    <a:pt x="232" y="439"/>
                  </a:cubicBezTo>
                  <a:cubicBezTo>
                    <a:pt x="168" y="439"/>
                    <a:pt x="168" y="439"/>
                    <a:pt x="168" y="439"/>
                  </a:cubicBezTo>
                  <a:cubicBezTo>
                    <a:pt x="168" y="457"/>
                    <a:pt x="168" y="457"/>
                    <a:pt x="168" y="457"/>
                  </a:cubicBezTo>
                  <a:cubicBezTo>
                    <a:pt x="372" y="457"/>
                    <a:pt x="372" y="457"/>
                    <a:pt x="372" y="457"/>
                  </a:cubicBezTo>
                  <a:cubicBezTo>
                    <a:pt x="372" y="439"/>
                    <a:pt x="372" y="439"/>
                    <a:pt x="372" y="439"/>
                  </a:cubicBezTo>
                  <a:cubicBezTo>
                    <a:pt x="308" y="439"/>
                    <a:pt x="308" y="439"/>
                    <a:pt x="308" y="439"/>
                  </a:cubicBezTo>
                  <a:cubicBezTo>
                    <a:pt x="308" y="374"/>
                    <a:pt x="308" y="374"/>
                    <a:pt x="308" y="374"/>
                  </a:cubicBezTo>
                  <a:cubicBezTo>
                    <a:pt x="496" y="374"/>
                    <a:pt x="496" y="374"/>
                    <a:pt x="496" y="374"/>
                  </a:cubicBezTo>
                  <a:cubicBezTo>
                    <a:pt x="520" y="374"/>
                    <a:pt x="540" y="354"/>
                    <a:pt x="540" y="330"/>
                  </a:cubicBezTo>
                  <a:cubicBezTo>
                    <a:pt x="540" y="43"/>
                    <a:pt x="540" y="43"/>
                    <a:pt x="540" y="43"/>
                  </a:cubicBezTo>
                  <a:cubicBezTo>
                    <a:pt x="540" y="19"/>
                    <a:pt x="520" y="0"/>
                    <a:pt x="496" y="0"/>
                  </a:cubicBezTo>
                  <a:close/>
                  <a:moveTo>
                    <a:pt x="290" y="439"/>
                  </a:moveTo>
                  <a:cubicBezTo>
                    <a:pt x="249" y="439"/>
                    <a:pt x="249" y="439"/>
                    <a:pt x="249" y="439"/>
                  </a:cubicBezTo>
                  <a:cubicBezTo>
                    <a:pt x="249" y="373"/>
                    <a:pt x="249" y="373"/>
                    <a:pt x="249" y="373"/>
                  </a:cubicBezTo>
                  <a:cubicBezTo>
                    <a:pt x="290" y="373"/>
                    <a:pt x="290" y="373"/>
                    <a:pt x="290" y="373"/>
                  </a:cubicBezTo>
                  <a:lnTo>
                    <a:pt x="290" y="439"/>
                  </a:lnTo>
                  <a:close/>
                  <a:moveTo>
                    <a:pt x="522" y="330"/>
                  </a:moveTo>
                  <a:cubicBezTo>
                    <a:pt x="522" y="345"/>
                    <a:pt x="511" y="356"/>
                    <a:pt x="496" y="356"/>
                  </a:cubicBezTo>
                  <a:cubicBezTo>
                    <a:pt x="43" y="356"/>
                    <a:pt x="43" y="356"/>
                    <a:pt x="43" y="356"/>
                  </a:cubicBezTo>
                  <a:cubicBezTo>
                    <a:pt x="29" y="356"/>
                    <a:pt x="17" y="345"/>
                    <a:pt x="17" y="330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17" y="29"/>
                    <a:pt x="29" y="17"/>
                    <a:pt x="43" y="17"/>
                  </a:cubicBezTo>
                  <a:cubicBezTo>
                    <a:pt x="496" y="17"/>
                    <a:pt x="496" y="17"/>
                    <a:pt x="496" y="17"/>
                  </a:cubicBezTo>
                  <a:cubicBezTo>
                    <a:pt x="510" y="17"/>
                    <a:pt x="522" y="29"/>
                    <a:pt x="522" y="43"/>
                  </a:cubicBezTo>
                  <a:cubicBezTo>
                    <a:pt x="522" y="330"/>
                    <a:pt x="522" y="330"/>
                    <a:pt x="522" y="330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</p:grpSp>
      <p:sp>
        <p:nvSpPr>
          <p:cNvPr id="5" name="Rectangle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231772" y="1065489"/>
            <a:ext cx="19191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0">
                <a:solidFill>
                  <a:schemeClr val="accent2">
                    <a:lumMod val="20000"/>
                    <a:lumOff val="80000"/>
                  </a:schemeClr>
                </a:solidFill>
                <a:effectLst/>
                <a:latin typeface="+mj-lt"/>
                <a:cs typeface="Poppins" panose="00000500000000000000" pitchFamily="2" charset="0"/>
              </a:rPr>
              <a:t>We're Accurate</a:t>
            </a:r>
          </a:p>
        </p:txBody>
      </p:sp>
      <p:sp>
        <p:nvSpPr>
          <p:cNvPr id="6" name="Rectangle 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231773" y="1373270"/>
            <a:ext cx="2191478" cy="6126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0" i="0" dirty="0">
                <a:solidFill>
                  <a:schemeClr val="accent1">
                    <a:lumMod val="25000"/>
                    <a:lumOff val="75000"/>
                  </a:schemeClr>
                </a:solidFill>
                <a:effectLst/>
                <a:cs typeface="等线" panose="02010600030101010101" charset="-122"/>
              </a:rPr>
              <a:t>Lorem ipsum dolor sit </a:t>
            </a:r>
            <a:r>
              <a:rPr lang="en-US" sz="1200" b="0" i="0" dirty="0" err="1">
                <a:solidFill>
                  <a:schemeClr val="accent1">
                    <a:lumMod val="25000"/>
                    <a:lumOff val="75000"/>
                  </a:schemeClr>
                </a:solidFill>
                <a:effectLst/>
                <a:cs typeface="等线" panose="02010600030101010101" charset="-122"/>
              </a:rPr>
              <a:t>adipiscing</a:t>
            </a:r>
            <a:r>
              <a:rPr lang="en-US" sz="1200" b="0" i="0" dirty="0">
                <a:solidFill>
                  <a:schemeClr val="accent1">
                    <a:lumMod val="25000"/>
                    <a:lumOff val="75000"/>
                  </a:schemeClr>
                </a:solidFill>
                <a:effectLst/>
                <a:cs typeface="等线" panose="02010600030101010101" charset="-122"/>
              </a:rPr>
              <a:t> sed diam.</a:t>
            </a:r>
            <a:endParaRPr lang="en-US" sz="1200" dirty="0">
              <a:solidFill>
                <a:schemeClr val="accent1">
                  <a:lumMod val="25000"/>
                  <a:lumOff val="75000"/>
                </a:schemeClr>
              </a:solidFill>
              <a:cs typeface="等线" panose="02010600030101010101" charset="-122"/>
            </a:endParaRPr>
          </a:p>
        </p:txBody>
      </p:sp>
      <p:grpSp>
        <p:nvGrpSpPr>
          <p:cNvPr id="22" name="Group 2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320804" y="1176909"/>
            <a:ext cx="592362" cy="402557"/>
            <a:chOff x="6903417" y="1900356"/>
            <a:chExt cx="1587837" cy="1079062"/>
          </a:xfrm>
          <a:solidFill>
            <a:schemeClr val="accent1">
              <a:lumMod val="75000"/>
              <a:lumOff val="25000"/>
            </a:schemeClr>
          </a:solidFill>
          <a:effectLst/>
        </p:grpSpPr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6903417" y="2134868"/>
              <a:ext cx="676275" cy="844550"/>
            </a:xfrm>
            <a:custGeom>
              <a:avLst/>
              <a:gdLst>
                <a:gd name="T0" fmla="*/ 152 w 227"/>
                <a:gd name="T1" fmla="*/ 153 h 284"/>
                <a:gd name="T2" fmla="*/ 146 w 227"/>
                <a:gd name="T3" fmla="*/ 148 h 284"/>
                <a:gd name="T4" fmla="*/ 177 w 227"/>
                <a:gd name="T5" fmla="*/ 66 h 284"/>
                <a:gd name="T6" fmla="*/ 158 w 227"/>
                <a:gd name="T7" fmla="*/ 16 h 284"/>
                <a:gd name="T8" fmla="*/ 114 w 227"/>
                <a:gd name="T9" fmla="*/ 0 h 284"/>
                <a:gd name="T10" fmla="*/ 69 w 227"/>
                <a:gd name="T11" fmla="*/ 16 h 284"/>
                <a:gd name="T12" fmla="*/ 50 w 227"/>
                <a:gd name="T13" fmla="*/ 66 h 284"/>
                <a:gd name="T14" fmla="*/ 81 w 227"/>
                <a:gd name="T15" fmla="*/ 148 h 284"/>
                <a:gd name="T16" fmla="*/ 75 w 227"/>
                <a:gd name="T17" fmla="*/ 153 h 284"/>
                <a:gd name="T18" fmla="*/ 7 w 227"/>
                <a:gd name="T19" fmla="*/ 184 h 284"/>
                <a:gd name="T20" fmla="*/ 8 w 227"/>
                <a:gd name="T21" fmla="*/ 263 h 284"/>
                <a:gd name="T22" fmla="*/ 34 w 227"/>
                <a:gd name="T23" fmla="*/ 284 h 284"/>
                <a:gd name="T24" fmla="*/ 193 w 227"/>
                <a:gd name="T25" fmla="*/ 284 h 284"/>
                <a:gd name="T26" fmla="*/ 219 w 227"/>
                <a:gd name="T27" fmla="*/ 263 h 284"/>
                <a:gd name="T28" fmla="*/ 219 w 227"/>
                <a:gd name="T29" fmla="*/ 184 h 284"/>
                <a:gd name="T30" fmla="*/ 152 w 227"/>
                <a:gd name="T31" fmla="*/ 153 h 284"/>
                <a:gd name="T32" fmla="*/ 68 w 227"/>
                <a:gd name="T33" fmla="*/ 66 h 284"/>
                <a:gd name="T34" fmla="*/ 81 w 227"/>
                <a:gd name="T35" fmla="*/ 29 h 284"/>
                <a:gd name="T36" fmla="*/ 112 w 227"/>
                <a:gd name="T37" fmla="*/ 18 h 284"/>
                <a:gd name="T38" fmla="*/ 113 w 227"/>
                <a:gd name="T39" fmla="*/ 18 h 284"/>
                <a:gd name="T40" fmla="*/ 114 w 227"/>
                <a:gd name="T41" fmla="*/ 18 h 284"/>
                <a:gd name="T42" fmla="*/ 146 w 227"/>
                <a:gd name="T43" fmla="*/ 29 h 284"/>
                <a:gd name="T44" fmla="*/ 159 w 227"/>
                <a:gd name="T45" fmla="*/ 66 h 284"/>
                <a:gd name="T46" fmla="*/ 130 w 227"/>
                <a:gd name="T47" fmla="*/ 138 h 284"/>
                <a:gd name="T48" fmla="*/ 128 w 227"/>
                <a:gd name="T49" fmla="*/ 140 h 284"/>
                <a:gd name="T50" fmla="*/ 126 w 227"/>
                <a:gd name="T51" fmla="*/ 140 h 284"/>
                <a:gd name="T52" fmla="*/ 122 w 227"/>
                <a:gd name="T53" fmla="*/ 142 h 284"/>
                <a:gd name="T54" fmla="*/ 122 w 227"/>
                <a:gd name="T55" fmla="*/ 142 h 284"/>
                <a:gd name="T56" fmla="*/ 105 w 227"/>
                <a:gd name="T57" fmla="*/ 142 h 284"/>
                <a:gd name="T58" fmla="*/ 105 w 227"/>
                <a:gd name="T59" fmla="*/ 142 h 284"/>
                <a:gd name="T60" fmla="*/ 101 w 227"/>
                <a:gd name="T61" fmla="*/ 140 h 284"/>
                <a:gd name="T62" fmla="*/ 100 w 227"/>
                <a:gd name="T63" fmla="*/ 140 h 284"/>
                <a:gd name="T64" fmla="*/ 97 w 227"/>
                <a:gd name="T65" fmla="*/ 138 h 284"/>
                <a:gd name="T66" fmla="*/ 68 w 227"/>
                <a:gd name="T67" fmla="*/ 66 h 284"/>
                <a:gd name="T68" fmla="*/ 202 w 227"/>
                <a:gd name="T69" fmla="*/ 259 h 284"/>
                <a:gd name="T70" fmla="*/ 194 w 227"/>
                <a:gd name="T71" fmla="*/ 266 h 284"/>
                <a:gd name="T72" fmla="*/ 34 w 227"/>
                <a:gd name="T73" fmla="*/ 266 h 284"/>
                <a:gd name="T74" fmla="*/ 25 w 227"/>
                <a:gd name="T75" fmla="*/ 259 h 284"/>
                <a:gd name="T76" fmla="*/ 22 w 227"/>
                <a:gd name="T77" fmla="*/ 193 h 284"/>
                <a:gd name="T78" fmla="*/ 79 w 227"/>
                <a:gd name="T79" fmla="*/ 170 h 284"/>
                <a:gd name="T80" fmla="*/ 96 w 227"/>
                <a:gd name="T81" fmla="*/ 157 h 284"/>
                <a:gd name="T82" fmla="*/ 99 w 227"/>
                <a:gd name="T83" fmla="*/ 158 h 284"/>
                <a:gd name="T84" fmla="*/ 101 w 227"/>
                <a:gd name="T85" fmla="*/ 158 h 284"/>
                <a:gd name="T86" fmla="*/ 104 w 227"/>
                <a:gd name="T87" fmla="*/ 159 h 284"/>
                <a:gd name="T88" fmla="*/ 106 w 227"/>
                <a:gd name="T89" fmla="*/ 160 h 284"/>
                <a:gd name="T90" fmla="*/ 109 w 227"/>
                <a:gd name="T91" fmla="*/ 160 h 284"/>
                <a:gd name="T92" fmla="*/ 111 w 227"/>
                <a:gd name="T93" fmla="*/ 160 h 284"/>
                <a:gd name="T94" fmla="*/ 114 w 227"/>
                <a:gd name="T95" fmla="*/ 160 h 284"/>
                <a:gd name="T96" fmla="*/ 116 w 227"/>
                <a:gd name="T97" fmla="*/ 160 h 284"/>
                <a:gd name="T98" fmla="*/ 118 w 227"/>
                <a:gd name="T99" fmla="*/ 160 h 284"/>
                <a:gd name="T100" fmla="*/ 121 w 227"/>
                <a:gd name="T101" fmla="*/ 160 h 284"/>
                <a:gd name="T102" fmla="*/ 124 w 227"/>
                <a:gd name="T103" fmla="*/ 159 h 284"/>
                <a:gd name="T104" fmla="*/ 126 w 227"/>
                <a:gd name="T105" fmla="*/ 158 h 284"/>
                <a:gd name="T106" fmla="*/ 128 w 227"/>
                <a:gd name="T107" fmla="*/ 158 h 284"/>
                <a:gd name="T108" fmla="*/ 131 w 227"/>
                <a:gd name="T109" fmla="*/ 157 h 284"/>
                <a:gd name="T110" fmla="*/ 148 w 227"/>
                <a:gd name="T111" fmla="*/ 170 h 284"/>
                <a:gd name="T112" fmla="*/ 205 w 227"/>
                <a:gd name="T113" fmla="*/ 193 h 284"/>
                <a:gd name="T114" fmla="*/ 205 w 227"/>
                <a:gd name="T115" fmla="*/ 193 h 284"/>
                <a:gd name="T116" fmla="*/ 202 w 227"/>
                <a:gd name="T117" fmla="*/ 25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6" h="284">
                  <a:moveTo>
                    <a:pt x="152" y="153"/>
                  </a:moveTo>
                  <a:cubicBezTo>
                    <a:pt x="150" y="152"/>
                    <a:pt x="148" y="150"/>
                    <a:pt x="146" y="148"/>
                  </a:cubicBezTo>
                  <a:cubicBezTo>
                    <a:pt x="164" y="134"/>
                    <a:pt x="177" y="106"/>
                    <a:pt x="177" y="66"/>
                  </a:cubicBezTo>
                  <a:cubicBezTo>
                    <a:pt x="177" y="44"/>
                    <a:pt x="171" y="28"/>
                    <a:pt x="158" y="16"/>
                  </a:cubicBezTo>
                  <a:cubicBezTo>
                    <a:pt x="141" y="0"/>
                    <a:pt x="117" y="0"/>
                    <a:pt x="114" y="0"/>
                  </a:cubicBezTo>
                  <a:cubicBezTo>
                    <a:pt x="110" y="0"/>
                    <a:pt x="86" y="0"/>
                    <a:pt x="69" y="16"/>
                  </a:cubicBezTo>
                  <a:cubicBezTo>
                    <a:pt x="56" y="28"/>
                    <a:pt x="50" y="44"/>
                    <a:pt x="50" y="66"/>
                  </a:cubicBezTo>
                  <a:cubicBezTo>
                    <a:pt x="50" y="106"/>
                    <a:pt x="64" y="134"/>
                    <a:pt x="81" y="148"/>
                  </a:cubicBezTo>
                  <a:cubicBezTo>
                    <a:pt x="80" y="151"/>
                    <a:pt x="78" y="152"/>
                    <a:pt x="75" y="153"/>
                  </a:cubicBezTo>
                  <a:cubicBezTo>
                    <a:pt x="38" y="161"/>
                    <a:pt x="15" y="171"/>
                    <a:pt x="7" y="184"/>
                  </a:cubicBezTo>
                  <a:cubicBezTo>
                    <a:pt x="0" y="196"/>
                    <a:pt x="0" y="223"/>
                    <a:pt x="8" y="263"/>
                  </a:cubicBezTo>
                  <a:cubicBezTo>
                    <a:pt x="10" y="275"/>
                    <a:pt x="21" y="284"/>
                    <a:pt x="34" y="284"/>
                  </a:cubicBezTo>
                  <a:cubicBezTo>
                    <a:pt x="193" y="284"/>
                    <a:pt x="193" y="284"/>
                    <a:pt x="193" y="284"/>
                  </a:cubicBezTo>
                  <a:cubicBezTo>
                    <a:pt x="205" y="284"/>
                    <a:pt x="216" y="275"/>
                    <a:pt x="219" y="263"/>
                  </a:cubicBezTo>
                  <a:cubicBezTo>
                    <a:pt x="227" y="223"/>
                    <a:pt x="227" y="196"/>
                    <a:pt x="219" y="184"/>
                  </a:cubicBezTo>
                  <a:cubicBezTo>
                    <a:pt x="212" y="171"/>
                    <a:pt x="189" y="161"/>
                    <a:pt x="152" y="153"/>
                  </a:cubicBezTo>
                  <a:close/>
                  <a:moveTo>
                    <a:pt x="68" y="66"/>
                  </a:moveTo>
                  <a:cubicBezTo>
                    <a:pt x="68" y="50"/>
                    <a:pt x="72" y="37"/>
                    <a:pt x="81" y="29"/>
                  </a:cubicBezTo>
                  <a:cubicBezTo>
                    <a:pt x="92" y="18"/>
                    <a:pt x="109" y="18"/>
                    <a:pt x="112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8"/>
                    <a:pt x="133" y="17"/>
                    <a:pt x="146" y="29"/>
                  </a:cubicBezTo>
                  <a:cubicBezTo>
                    <a:pt x="155" y="37"/>
                    <a:pt x="159" y="50"/>
                    <a:pt x="159" y="66"/>
                  </a:cubicBezTo>
                  <a:cubicBezTo>
                    <a:pt x="159" y="106"/>
                    <a:pt x="145" y="129"/>
                    <a:pt x="130" y="138"/>
                  </a:cubicBezTo>
                  <a:cubicBezTo>
                    <a:pt x="130" y="138"/>
                    <a:pt x="128" y="139"/>
                    <a:pt x="128" y="140"/>
                  </a:cubicBezTo>
                  <a:cubicBezTo>
                    <a:pt x="127" y="140"/>
                    <a:pt x="127" y="140"/>
                    <a:pt x="126" y="140"/>
                  </a:cubicBezTo>
                  <a:cubicBezTo>
                    <a:pt x="125" y="141"/>
                    <a:pt x="124" y="142"/>
                    <a:pt x="122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16" y="144"/>
                    <a:pt x="111" y="144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4" y="142"/>
                    <a:pt x="102" y="141"/>
                    <a:pt x="101" y="140"/>
                  </a:cubicBezTo>
                  <a:cubicBezTo>
                    <a:pt x="101" y="140"/>
                    <a:pt x="100" y="140"/>
                    <a:pt x="100" y="140"/>
                  </a:cubicBezTo>
                  <a:cubicBezTo>
                    <a:pt x="99" y="139"/>
                    <a:pt x="98" y="138"/>
                    <a:pt x="97" y="138"/>
                  </a:cubicBezTo>
                  <a:cubicBezTo>
                    <a:pt x="82" y="129"/>
                    <a:pt x="68" y="106"/>
                    <a:pt x="68" y="66"/>
                  </a:cubicBezTo>
                  <a:close/>
                  <a:moveTo>
                    <a:pt x="202" y="259"/>
                  </a:moveTo>
                  <a:cubicBezTo>
                    <a:pt x="202" y="263"/>
                    <a:pt x="198" y="266"/>
                    <a:pt x="194" y="266"/>
                  </a:cubicBezTo>
                  <a:cubicBezTo>
                    <a:pt x="34" y="266"/>
                    <a:pt x="34" y="266"/>
                    <a:pt x="34" y="266"/>
                  </a:cubicBezTo>
                  <a:cubicBezTo>
                    <a:pt x="30" y="266"/>
                    <a:pt x="26" y="263"/>
                    <a:pt x="25" y="259"/>
                  </a:cubicBezTo>
                  <a:cubicBezTo>
                    <a:pt x="17" y="220"/>
                    <a:pt x="19" y="199"/>
                    <a:pt x="22" y="193"/>
                  </a:cubicBezTo>
                  <a:cubicBezTo>
                    <a:pt x="26" y="187"/>
                    <a:pt x="43" y="178"/>
                    <a:pt x="79" y="170"/>
                  </a:cubicBezTo>
                  <a:cubicBezTo>
                    <a:pt x="86" y="168"/>
                    <a:pt x="92" y="163"/>
                    <a:pt x="96" y="157"/>
                  </a:cubicBezTo>
                  <a:cubicBezTo>
                    <a:pt x="97" y="158"/>
                    <a:pt x="98" y="158"/>
                    <a:pt x="99" y="158"/>
                  </a:cubicBezTo>
                  <a:cubicBezTo>
                    <a:pt x="100" y="158"/>
                    <a:pt x="100" y="158"/>
                    <a:pt x="101" y="158"/>
                  </a:cubicBezTo>
                  <a:cubicBezTo>
                    <a:pt x="102" y="159"/>
                    <a:pt x="103" y="159"/>
                    <a:pt x="104" y="159"/>
                  </a:cubicBezTo>
                  <a:cubicBezTo>
                    <a:pt x="104" y="159"/>
                    <a:pt x="105" y="160"/>
                    <a:pt x="106" y="160"/>
                  </a:cubicBezTo>
                  <a:cubicBezTo>
                    <a:pt x="107" y="160"/>
                    <a:pt x="108" y="160"/>
                    <a:pt x="109" y="160"/>
                  </a:cubicBezTo>
                  <a:cubicBezTo>
                    <a:pt x="110" y="160"/>
                    <a:pt x="110" y="160"/>
                    <a:pt x="111" y="160"/>
                  </a:cubicBezTo>
                  <a:cubicBezTo>
                    <a:pt x="112" y="160"/>
                    <a:pt x="113" y="160"/>
                    <a:pt x="114" y="160"/>
                  </a:cubicBezTo>
                  <a:cubicBezTo>
                    <a:pt x="114" y="160"/>
                    <a:pt x="115" y="160"/>
                    <a:pt x="116" y="160"/>
                  </a:cubicBezTo>
                  <a:cubicBezTo>
                    <a:pt x="117" y="160"/>
                    <a:pt x="118" y="160"/>
                    <a:pt x="118" y="160"/>
                  </a:cubicBezTo>
                  <a:cubicBezTo>
                    <a:pt x="119" y="160"/>
                    <a:pt x="120" y="160"/>
                    <a:pt x="121" y="160"/>
                  </a:cubicBezTo>
                  <a:cubicBezTo>
                    <a:pt x="122" y="160"/>
                    <a:pt x="123" y="159"/>
                    <a:pt x="124" y="159"/>
                  </a:cubicBezTo>
                  <a:cubicBezTo>
                    <a:pt x="124" y="159"/>
                    <a:pt x="126" y="159"/>
                    <a:pt x="126" y="158"/>
                  </a:cubicBezTo>
                  <a:cubicBezTo>
                    <a:pt x="127" y="158"/>
                    <a:pt x="128" y="158"/>
                    <a:pt x="128" y="158"/>
                  </a:cubicBezTo>
                  <a:cubicBezTo>
                    <a:pt x="129" y="158"/>
                    <a:pt x="130" y="158"/>
                    <a:pt x="131" y="157"/>
                  </a:cubicBezTo>
                  <a:cubicBezTo>
                    <a:pt x="134" y="164"/>
                    <a:pt x="141" y="168"/>
                    <a:pt x="148" y="170"/>
                  </a:cubicBezTo>
                  <a:cubicBezTo>
                    <a:pt x="184" y="177"/>
                    <a:pt x="201" y="187"/>
                    <a:pt x="205" y="193"/>
                  </a:cubicBezTo>
                  <a:cubicBezTo>
                    <a:pt x="205" y="193"/>
                    <a:pt x="205" y="193"/>
                    <a:pt x="205" y="193"/>
                  </a:cubicBezTo>
                  <a:cubicBezTo>
                    <a:pt x="209" y="199"/>
                    <a:pt x="210" y="220"/>
                    <a:pt x="202" y="259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7627193" y="1900356"/>
              <a:ext cx="864061" cy="1079062"/>
            </a:xfrm>
            <a:custGeom>
              <a:avLst/>
              <a:gdLst>
                <a:gd name="T0" fmla="*/ 152 w 227"/>
                <a:gd name="T1" fmla="*/ 153 h 284"/>
                <a:gd name="T2" fmla="*/ 146 w 227"/>
                <a:gd name="T3" fmla="*/ 148 h 284"/>
                <a:gd name="T4" fmla="*/ 177 w 227"/>
                <a:gd name="T5" fmla="*/ 66 h 284"/>
                <a:gd name="T6" fmla="*/ 158 w 227"/>
                <a:gd name="T7" fmla="*/ 16 h 284"/>
                <a:gd name="T8" fmla="*/ 114 w 227"/>
                <a:gd name="T9" fmla="*/ 0 h 284"/>
                <a:gd name="T10" fmla="*/ 69 w 227"/>
                <a:gd name="T11" fmla="*/ 16 h 284"/>
                <a:gd name="T12" fmla="*/ 50 w 227"/>
                <a:gd name="T13" fmla="*/ 66 h 284"/>
                <a:gd name="T14" fmla="*/ 81 w 227"/>
                <a:gd name="T15" fmla="*/ 148 h 284"/>
                <a:gd name="T16" fmla="*/ 75 w 227"/>
                <a:gd name="T17" fmla="*/ 153 h 284"/>
                <a:gd name="T18" fmla="*/ 7 w 227"/>
                <a:gd name="T19" fmla="*/ 184 h 284"/>
                <a:gd name="T20" fmla="*/ 8 w 227"/>
                <a:gd name="T21" fmla="*/ 263 h 284"/>
                <a:gd name="T22" fmla="*/ 34 w 227"/>
                <a:gd name="T23" fmla="*/ 284 h 284"/>
                <a:gd name="T24" fmla="*/ 193 w 227"/>
                <a:gd name="T25" fmla="*/ 284 h 284"/>
                <a:gd name="T26" fmla="*/ 219 w 227"/>
                <a:gd name="T27" fmla="*/ 263 h 284"/>
                <a:gd name="T28" fmla="*/ 219 w 227"/>
                <a:gd name="T29" fmla="*/ 184 h 284"/>
                <a:gd name="T30" fmla="*/ 152 w 227"/>
                <a:gd name="T31" fmla="*/ 153 h 284"/>
                <a:gd name="T32" fmla="*/ 68 w 227"/>
                <a:gd name="T33" fmla="*/ 66 h 284"/>
                <a:gd name="T34" fmla="*/ 81 w 227"/>
                <a:gd name="T35" fmla="*/ 29 h 284"/>
                <a:gd name="T36" fmla="*/ 112 w 227"/>
                <a:gd name="T37" fmla="*/ 18 h 284"/>
                <a:gd name="T38" fmla="*/ 113 w 227"/>
                <a:gd name="T39" fmla="*/ 18 h 284"/>
                <a:gd name="T40" fmla="*/ 114 w 227"/>
                <a:gd name="T41" fmla="*/ 18 h 284"/>
                <a:gd name="T42" fmla="*/ 146 w 227"/>
                <a:gd name="T43" fmla="*/ 29 h 284"/>
                <a:gd name="T44" fmla="*/ 159 w 227"/>
                <a:gd name="T45" fmla="*/ 66 h 284"/>
                <a:gd name="T46" fmla="*/ 130 w 227"/>
                <a:gd name="T47" fmla="*/ 138 h 284"/>
                <a:gd name="T48" fmla="*/ 128 w 227"/>
                <a:gd name="T49" fmla="*/ 140 h 284"/>
                <a:gd name="T50" fmla="*/ 126 w 227"/>
                <a:gd name="T51" fmla="*/ 140 h 284"/>
                <a:gd name="T52" fmla="*/ 122 w 227"/>
                <a:gd name="T53" fmla="*/ 142 h 284"/>
                <a:gd name="T54" fmla="*/ 122 w 227"/>
                <a:gd name="T55" fmla="*/ 142 h 284"/>
                <a:gd name="T56" fmla="*/ 105 w 227"/>
                <a:gd name="T57" fmla="*/ 142 h 284"/>
                <a:gd name="T58" fmla="*/ 105 w 227"/>
                <a:gd name="T59" fmla="*/ 142 h 284"/>
                <a:gd name="T60" fmla="*/ 101 w 227"/>
                <a:gd name="T61" fmla="*/ 140 h 284"/>
                <a:gd name="T62" fmla="*/ 100 w 227"/>
                <a:gd name="T63" fmla="*/ 140 h 284"/>
                <a:gd name="T64" fmla="*/ 97 w 227"/>
                <a:gd name="T65" fmla="*/ 138 h 284"/>
                <a:gd name="T66" fmla="*/ 68 w 227"/>
                <a:gd name="T67" fmla="*/ 66 h 284"/>
                <a:gd name="T68" fmla="*/ 202 w 227"/>
                <a:gd name="T69" fmla="*/ 259 h 284"/>
                <a:gd name="T70" fmla="*/ 194 w 227"/>
                <a:gd name="T71" fmla="*/ 266 h 284"/>
                <a:gd name="T72" fmla="*/ 34 w 227"/>
                <a:gd name="T73" fmla="*/ 266 h 284"/>
                <a:gd name="T74" fmla="*/ 25 w 227"/>
                <a:gd name="T75" fmla="*/ 259 h 284"/>
                <a:gd name="T76" fmla="*/ 22 w 227"/>
                <a:gd name="T77" fmla="*/ 193 h 284"/>
                <a:gd name="T78" fmla="*/ 79 w 227"/>
                <a:gd name="T79" fmla="*/ 170 h 284"/>
                <a:gd name="T80" fmla="*/ 96 w 227"/>
                <a:gd name="T81" fmla="*/ 157 h 284"/>
                <a:gd name="T82" fmla="*/ 99 w 227"/>
                <a:gd name="T83" fmla="*/ 158 h 284"/>
                <a:gd name="T84" fmla="*/ 101 w 227"/>
                <a:gd name="T85" fmla="*/ 158 h 284"/>
                <a:gd name="T86" fmla="*/ 104 w 227"/>
                <a:gd name="T87" fmla="*/ 159 h 284"/>
                <a:gd name="T88" fmla="*/ 106 w 227"/>
                <a:gd name="T89" fmla="*/ 160 h 284"/>
                <a:gd name="T90" fmla="*/ 109 w 227"/>
                <a:gd name="T91" fmla="*/ 160 h 284"/>
                <a:gd name="T92" fmla="*/ 111 w 227"/>
                <a:gd name="T93" fmla="*/ 160 h 284"/>
                <a:gd name="T94" fmla="*/ 114 w 227"/>
                <a:gd name="T95" fmla="*/ 160 h 284"/>
                <a:gd name="T96" fmla="*/ 116 w 227"/>
                <a:gd name="T97" fmla="*/ 160 h 284"/>
                <a:gd name="T98" fmla="*/ 118 w 227"/>
                <a:gd name="T99" fmla="*/ 160 h 284"/>
                <a:gd name="T100" fmla="*/ 121 w 227"/>
                <a:gd name="T101" fmla="*/ 160 h 284"/>
                <a:gd name="T102" fmla="*/ 124 w 227"/>
                <a:gd name="T103" fmla="*/ 159 h 284"/>
                <a:gd name="T104" fmla="*/ 126 w 227"/>
                <a:gd name="T105" fmla="*/ 158 h 284"/>
                <a:gd name="T106" fmla="*/ 128 w 227"/>
                <a:gd name="T107" fmla="*/ 158 h 284"/>
                <a:gd name="T108" fmla="*/ 131 w 227"/>
                <a:gd name="T109" fmla="*/ 157 h 284"/>
                <a:gd name="T110" fmla="*/ 148 w 227"/>
                <a:gd name="T111" fmla="*/ 170 h 284"/>
                <a:gd name="T112" fmla="*/ 205 w 227"/>
                <a:gd name="T113" fmla="*/ 193 h 284"/>
                <a:gd name="T114" fmla="*/ 205 w 227"/>
                <a:gd name="T115" fmla="*/ 193 h 284"/>
                <a:gd name="T116" fmla="*/ 202 w 227"/>
                <a:gd name="T117" fmla="*/ 259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6" h="284">
                  <a:moveTo>
                    <a:pt x="152" y="153"/>
                  </a:moveTo>
                  <a:cubicBezTo>
                    <a:pt x="150" y="152"/>
                    <a:pt x="148" y="150"/>
                    <a:pt x="146" y="148"/>
                  </a:cubicBezTo>
                  <a:cubicBezTo>
                    <a:pt x="164" y="134"/>
                    <a:pt x="177" y="106"/>
                    <a:pt x="177" y="66"/>
                  </a:cubicBezTo>
                  <a:cubicBezTo>
                    <a:pt x="177" y="44"/>
                    <a:pt x="171" y="28"/>
                    <a:pt x="158" y="16"/>
                  </a:cubicBezTo>
                  <a:cubicBezTo>
                    <a:pt x="141" y="0"/>
                    <a:pt x="117" y="0"/>
                    <a:pt x="114" y="0"/>
                  </a:cubicBezTo>
                  <a:cubicBezTo>
                    <a:pt x="110" y="0"/>
                    <a:pt x="86" y="0"/>
                    <a:pt x="69" y="16"/>
                  </a:cubicBezTo>
                  <a:cubicBezTo>
                    <a:pt x="56" y="28"/>
                    <a:pt x="50" y="44"/>
                    <a:pt x="50" y="66"/>
                  </a:cubicBezTo>
                  <a:cubicBezTo>
                    <a:pt x="50" y="106"/>
                    <a:pt x="64" y="134"/>
                    <a:pt x="81" y="148"/>
                  </a:cubicBezTo>
                  <a:cubicBezTo>
                    <a:pt x="80" y="151"/>
                    <a:pt x="78" y="152"/>
                    <a:pt x="75" y="153"/>
                  </a:cubicBezTo>
                  <a:cubicBezTo>
                    <a:pt x="38" y="161"/>
                    <a:pt x="15" y="171"/>
                    <a:pt x="7" y="184"/>
                  </a:cubicBezTo>
                  <a:cubicBezTo>
                    <a:pt x="0" y="196"/>
                    <a:pt x="0" y="223"/>
                    <a:pt x="8" y="263"/>
                  </a:cubicBezTo>
                  <a:cubicBezTo>
                    <a:pt x="10" y="275"/>
                    <a:pt x="21" y="284"/>
                    <a:pt x="34" y="284"/>
                  </a:cubicBezTo>
                  <a:cubicBezTo>
                    <a:pt x="193" y="284"/>
                    <a:pt x="193" y="284"/>
                    <a:pt x="193" y="284"/>
                  </a:cubicBezTo>
                  <a:cubicBezTo>
                    <a:pt x="205" y="284"/>
                    <a:pt x="216" y="275"/>
                    <a:pt x="219" y="263"/>
                  </a:cubicBezTo>
                  <a:cubicBezTo>
                    <a:pt x="227" y="223"/>
                    <a:pt x="227" y="196"/>
                    <a:pt x="219" y="184"/>
                  </a:cubicBezTo>
                  <a:cubicBezTo>
                    <a:pt x="212" y="171"/>
                    <a:pt x="189" y="161"/>
                    <a:pt x="152" y="153"/>
                  </a:cubicBezTo>
                  <a:close/>
                  <a:moveTo>
                    <a:pt x="68" y="66"/>
                  </a:moveTo>
                  <a:cubicBezTo>
                    <a:pt x="68" y="50"/>
                    <a:pt x="72" y="37"/>
                    <a:pt x="81" y="29"/>
                  </a:cubicBezTo>
                  <a:cubicBezTo>
                    <a:pt x="92" y="18"/>
                    <a:pt x="109" y="18"/>
                    <a:pt x="112" y="18"/>
                  </a:cubicBezTo>
                  <a:cubicBezTo>
                    <a:pt x="113" y="18"/>
                    <a:pt x="113" y="18"/>
                    <a:pt x="113" y="18"/>
                  </a:cubicBezTo>
                  <a:cubicBezTo>
                    <a:pt x="114" y="18"/>
                    <a:pt x="114" y="18"/>
                    <a:pt x="114" y="18"/>
                  </a:cubicBezTo>
                  <a:cubicBezTo>
                    <a:pt x="114" y="18"/>
                    <a:pt x="133" y="17"/>
                    <a:pt x="146" y="29"/>
                  </a:cubicBezTo>
                  <a:cubicBezTo>
                    <a:pt x="155" y="37"/>
                    <a:pt x="159" y="50"/>
                    <a:pt x="159" y="66"/>
                  </a:cubicBezTo>
                  <a:cubicBezTo>
                    <a:pt x="159" y="106"/>
                    <a:pt x="145" y="129"/>
                    <a:pt x="130" y="138"/>
                  </a:cubicBezTo>
                  <a:cubicBezTo>
                    <a:pt x="130" y="138"/>
                    <a:pt x="128" y="139"/>
                    <a:pt x="128" y="140"/>
                  </a:cubicBezTo>
                  <a:cubicBezTo>
                    <a:pt x="127" y="140"/>
                    <a:pt x="127" y="140"/>
                    <a:pt x="126" y="140"/>
                  </a:cubicBezTo>
                  <a:cubicBezTo>
                    <a:pt x="125" y="141"/>
                    <a:pt x="124" y="142"/>
                    <a:pt x="122" y="142"/>
                  </a:cubicBezTo>
                  <a:cubicBezTo>
                    <a:pt x="122" y="142"/>
                    <a:pt x="122" y="142"/>
                    <a:pt x="122" y="142"/>
                  </a:cubicBezTo>
                  <a:cubicBezTo>
                    <a:pt x="116" y="144"/>
                    <a:pt x="111" y="144"/>
                    <a:pt x="105" y="142"/>
                  </a:cubicBezTo>
                  <a:cubicBezTo>
                    <a:pt x="105" y="142"/>
                    <a:pt x="105" y="142"/>
                    <a:pt x="105" y="142"/>
                  </a:cubicBezTo>
                  <a:cubicBezTo>
                    <a:pt x="104" y="142"/>
                    <a:pt x="102" y="141"/>
                    <a:pt x="101" y="140"/>
                  </a:cubicBezTo>
                  <a:cubicBezTo>
                    <a:pt x="101" y="140"/>
                    <a:pt x="100" y="140"/>
                    <a:pt x="100" y="140"/>
                  </a:cubicBezTo>
                  <a:cubicBezTo>
                    <a:pt x="99" y="139"/>
                    <a:pt x="98" y="138"/>
                    <a:pt x="97" y="138"/>
                  </a:cubicBezTo>
                  <a:cubicBezTo>
                    <a:pt x="82" y="129"/>
                    <a:pt x="68" y="106"/>
                    <a:pt x="68" y="66"/>
                  </a:cubicBezTo>
                  <a:close/>
                  <a:moveTo>
                    <a:pt x="202" y="259"/>
                  </a:moveTo>
                  <a:cubicBezTo>
                    <a:pt x="202" y="263"/>
                    <a:pt x="198" y="266"/>
                    <a:pt x="194" y="266"/>
                  </a:cubicBezTo>
                  <a:cubicBezTo>
                    <a:pt x="34" y="266"/>
                    <a:pt x="34" y="266"/>
                    <a:pt x="34" y="266"/>
                  </a:cubicBezTo>
                  <a:cubicBezTo>
                    <a:pt x="30" y="266"/>
                    <a:pt x="26" y="263"/>
                    <a:pt x="25" y="259"/>
                  </a:cubicBezTo>
                  <a:cubicBezTo>
                    <a:pt x="17" y="220"/>
                    <a:pt x="19" y="199"/>
                    <a:pt x="22" y="193"/>
                  </a:cubicBezTo>
                  <a:cubicBezTo>
                    <a:pt x="26" y="187"/>
                    <a:pt x="43" y="178"/>
                    <a:pt x="79" y="170"/>
                  </a:cubicBezTo>
                  <a:cubicBezTo>
                    <a:pt x="86" y="168"/>
                    <a:pt x="92" y="163"/>
                    <a:pt x="96" y="157"/>
                  </a:cubicBezTo>
                  <a:cubicBezTo>
                    <a:pt x="97" y="158"/>
                    <a:pt x="98" y="158"/>
                    <a:pt x="99" y="158"/>
                  </a:cubicBezTo>
                  <a:cubicBezTo>
                    <a:pt x="100" y="158"/>
                    <a:pt x="100" y="158"/>
                    <a:pt x="101" y="158"/>
                  </a:cubicBezTo>
                  <a:cubicBezTo>
                    <a:pt x="102" y="159"/>
                    <a:pt x="103" y="159"/>
                    <a:pt x="104" y="159"/>
                  </a:cubicBezTo>
                  <a:cubicBezTo>
                    <a:pt x="104" y="159"/>
                    <a:pt x="105" y="160"/>
                    <a:pt x="106" y="160"/>
                  </a:cubicBezTo>
                  <a:cubicBezTo>
                    <a:pt x="107" y="160"/>
                    <a:pt x="108" y="160"/>
                    <a:pt x="109" y="160"/>
                  </a:cubicBezTo>
                  <a:cubicBezTo>
                    <a:pt x="110" y="160"/>
                    <a:pt x="110" y="160"/>
                    <a:pt x="111" y="160"/>
                  </a:cubicBezTo>
                  <a:cubicBezTo>
                    <a:pt x="112" y="160"/>
                    <a:pt x="113" y="160"/>
                    <a:pt x="114" y="160"/>
                  </a:cubicBezTo>
                  <a:cubicBezTo>
                    <a:pt x="114" y="160"/>
                    <a:pt x="115" y="160"/>
                    <a:pt x="116" y="160"/>
                  </a:cubicBezTo>
                  <a:cubicBezTo>
                    <a:pt x="117" y="160"/>
                    <a:pt x="118" y="160"/>
                    <a:pt x="118" y="160"/>
                  </a:cubicBezTo>
                  <a:cubicBezTo>
                    <a:pt x="119" y="160"/>
                    <a:pt x="120" y="160"/>
                    <a:pt x="121" y="160"/>
                  </a:cubicBezTo>
                  <a:cubicBezTo>
                    <a:pt x="122" y="160"/>
                    <a:pt x="123" y="159"/>
                    <a:pt x="124" y="159"/>
                  </a:cubicBezTo>
                  <a:cubicBezTo>
                    <a:pt x="124" y="159"/>
                    <a:pt x="126" y="159"/>
                    <a:pt x="126" y="158"/>
                  </a:cubicBezTo>
                  <a:cubicBezTo>
                    <a:pt x="127" y="158"/>
                    <a:pt x="128" y="158"/>
                    <a:pt x="128" y="158"/>
                  </a:cubicBezTo>
                  <a:cubicBezTo>
                    <a:pt x="129" y="158"/>
                    <a:pt x="130" y="158"/>
                    <a:pt x="131" y="157"/>
                  </a:cubicBezTo>
                  <a:cubicBezTo>
                    <a:pt x="134" y="164"/>
                    <a:pt x="141" y="168"/>
                    <a:pt x="148" y="170"/>
                  </a:cubicBezTo>
                  <a:cubicBezTo>
                    <a:pt x="184" y="177"/>
                    <a:pt x="201" y="187"/>
                    <a:pt x="205" y="193"/>
                  </a:cubicBezTo>
                  <a:cubicBezTo>
                    <a:pt x="205" y="193"/>
                    <a:pt x="205" y="193"/>
                    <a:pt x="205" y="193"/>
                  </a:cubicBezTo>
                  <a:cubicBezTo>
                    <a:pt x="209" y="199"/>
                    <a:pt x="210" y="220"/>
                    <a:pt x="202" y="259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</p:grpSp>
      <p:cxnSp>
        <p:nvCxnSpPr>
          <p:cNvPr id="29" name="Straight Connector 2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>
            <a:off x="7208477" y="2385242"/>
            <a:ext cx="3214774" cy="0"/>
          </a:xfrm>
          <a:prstGeom prst="line">
            <a:avLst/>
          </a:prstGeom>
          <a:ln>
            <a:solidFill>
              <a:schemeClr val="accent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>
            <a:off x="7208477" y="4460226"/>
            <a:ext cx="3214774" cy="0"/>
          </a:xfrm>
          <a:prstGeom prst="line">
            <a:avLst/>
          </a:prstGeom>
          <a:ln>
            <a:solidFill>
              <a:schemeClr val="accent1">
                <a:lumMod val="75000"/>
                <a:lumOff val="2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69559" y="1099044"/>
            <a:ext cx="2691442" cy="3184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100" dirty="0">
                <a:solidFill>
                  <a:schemeClr val="bg2">
                    <a:lumMod val="75000"/>
                  </a:schemeClr>
                </a:solidFill>
                <a:latin typeface="+mj-lt"/>
                <a:cs typeface="等线" panose="02010600030101010101" charset="-122"/>
              </a:rPr>
              <a:t>Sub title goes here</a:t>
            </a:r>
          </a:p>
        </p:txBody>
      </p:sp>
      <p:grpSp>
        <p:nvGrpSpPr>
          <p:cNvPr id="30" name="组合 2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45658" y="1457035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32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33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3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266700"/>
            <a:ext cx="6267450" cy="6591300"/>
          </a:xfrm>
          <a:custGeom>
            <a:avLst/>
            <a:gdLst>
              <a:gd name="connsiteX0" fmla="*/ 4659923 w 6267450"/>
              <a:gd name="connsiteY0" fmla="*/ 2546838 h 6591300"/>
              <a:gd name="connsiteX1" fmla="*/ 4659923 w 6267450"/>
              <a:gd name="connsiteY1" fmla="*/ 6098931 h 6591300"/>
              <a:gd name="connsiteX2" fmla="*/ 5644662 w 6267450"/>
              <a:gd name="connsiteY2" fmla="*/ 6098931 h 6591300"/>
              <a:gd name="connsiteX3" fmla="*/ 5644662 w 6267450"/>
              <a:gd name="connsiteY3" fmla="*/ 2546838 h 6591300"/>
              <a:gd name="connsiteX4" fmla="*/ 0 w 6267450"/>
              <a:gd name="connsiteY4" fmla="*/ 0 h 6591300"/>
              <a:gd name="connsiteX5" fmla="*/ 6267450 w 6267450"/>
              <a:gd name="connsiteY5" fmla="*/ 0 h 6591300"/>
              <a:gd name="connsiteX6" fmla="*/ 6267450 w 6267450"/>
              <a:gd name="connsiteY6" fmla="*/ 6591300 h 6591300"/>
              <a:gd name="connsiteX7" fmla="*/ 0 w 6267450"/>
              <a:gd name="connsiteY7" fmla="*/ 6591300 h 659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267450" h="6591300">
                <a:moveTo>
                  <a:pt x="4659923" y="2546838"/>
                </a:moveTo>
                <a:lnTo>
                  <a:pt x="4659923" y="6098931"/>
                </a:lnTo>
                <a:lnTo>
                  <a:pt x="5644662" y="6098931"/>
                </a:lnTo>
                <a:lnTo>
                  <a:pt x="5644662" y="2546838"/>
                </a:lnTo>
                <a:close/>
                <a:moveTo>
                  <a:pt x="0" y="0"/>
                </a:moveTo>
                <a:lnTo>
                  <a:pt x="6267450" y="0"/>
                </a:lnTo>
                <a:lnTo>
                  <a:pt x="6267450" y="6591300"/>
                </a:lnTo>
                <a:lnTo>
                  <a:pt x="0" y="65913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2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254482" y="0"/>
            <a:ext cx="5937518" cy="6858000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cs typeface="等线" panose="02010600030101010101" charset="-122"/>
            </a:endParaRPr>
          </a:p>
        </p:txBody>
      </p:sp>
      <p:sp>
        <p:nvSpPr>
          <p:cNvPr id="14" name="Title 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632033" y="768850"/>
            <a:ext cx="5225005" cy="7924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>
                <a:solidFill>
                  <a:schemeClr val="bg1"/>
                </a:solidFill>
                <a:cs typeface="等线" panose="02010600030101010101" charset="-122"/>
              </a:rPr>
              <a:t>Innovation</a:t>
            </a:r>
          </a:p>
        </p:txBody>
      </p:sp>
      <p:sp>
        <p:nvSpPr>
          <p:cNvPr id="16" name="Rectangle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632033" y="2504690"/>
            <a:ext cx="52151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Lorem ipsum dolor sit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amet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,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consectetur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adipiscing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elit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, sed do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eiusmod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tempor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incididunt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ut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magna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aliqua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. Ut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enim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ad minim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veniam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,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quis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nostrud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exercitation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ullamco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laboris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nisi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ut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</a:t>
            </a:r>
            <a:r>
              <a:rPr lang="en-US" sz="1200" b="0" i="0" dirty="0" err="1">
                <a:solidFill>
                  <a:schemeClr val="bg1"/>
                </a:solidFill>
                <a:effectLst/>
                <a:cs typeface="等线" panose="02010600030101010101" charset="-122"/>
              </a:rPr>
              <a:t>aliquip</a:t>
            </a:r>
            <a:r>
              <a:rPr lang="en-US" sz="1200" b="0" i="0" dirty="0">
                <a:solidFill>
                  <a:schemeClr val="bg1"/>
                </a:solidFill>
                <a:effectLst/>
                <a:cs typeface="等线" panose="02010600030101010101" charset="-122"/>
              </a:rPr>
              <a:t> ex ea.</a:t>
            </a:r>
            <a:endParaRPr lang="en-US" sz="12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7" name="Rounded Rectangle 4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716491" y="3799395"/>
            <a:ext cx="1448047" cy="1402773"/>
          </a:xfrm>
          <a:prstGeom prst="roundRect">
            <a:avLst/>
          </a:prstGeom>
          <a:solidFill>
            <a:schemeClr val="accent2">
              <a:lumMod val="20000"/>
              <a:lumOff val="80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8" name="Freeform 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EditPoints="1"/>
          </p:cNvSpPr>
          <p:nvPr/>
        </p:nvSpPr>
        <p:spPr bwMode="auto">
          <a:xfrm>
            <a:off x="7054668" y="4014784"/>
            <a:ext cx="771693" cy="592749"/>
          </a:xfrm>
          <a:custGeom>
            <a:avLst/>
            <a:gdLst>
              <a:gd name="T0" fmla="*/ 1590 w 2024"/>
              <a:gd name="T1" fmla="*/ 0 h 1558"/>
              <a:gd name="T2" fmla="*/ 1186 w 2024"/>
              <a:gd name="T3" fmla="*/ 130 h 1558"/>
              <a:gd name="T4" fmla="*/ 980 w 2024"/>
              <a:gd name="T5" fmla="*/ 416 h 1558"/>
              <a:gd name="T6" fmla="*/ 1053 w 2024"/>
              <a:gd name="T7" fmla="*/ 720 h 1558"/>
              <a:gd name="T8" fmla="*/ 980 w 2024"/>
              <a:gd name="T9" fmla="*/ 866 h 1558"/>
              <a:gd name="T10" fmla="*/ 908 w 2024"/>
              <a:gd name="T11" fmla="*/ 742 h 1558"/>
              <a:gd name="T12" fmla="*/ 922 w 2024"/>
              <a:gd name="T13" fmla="*/ 522 h 1558"/>
              <a:gd name="T14" fmla="*/ 755 w 2024"/>
              <a:gd name="T15" fmla="*/ 328 h 1558"/>
              <a:gd name="T16" fmla="*/ 465 w 2024"/>
              <a:gd name="T17" fmla="*/ 245 h 1558"/>
              <a:gd name="T18" fmla="*/ 68 w 2024"/>
              <a:gd name="T19" fmla="*/ 385 h 1558"/>
              <a:gd name="T20" fmla="*/ 0 w 2024"/>
              <a:gd name="T21" fmla="*/ 434 h 1558"/>
              <a:gd name="T22" fmla="*/ 81 w 2024"/>
              <a:gd name="T23" fmla="*/ 456 h 1558"/>
              <a:gd name="T24" fmla="*/ 414 w 2024"/>
              <a:gd name="T25" fmla="*/ 685 h 1558"/>
              <a:gd name="T26" fmla="*/ 704 w 2024"/>
              <a:gd name="T27" fmla="*/ 865 h 1558"/>
              <a:gd name="T28" fmla="*/ 704 w 2024"/>
              <a:gd name="T29" fmla="*/ 865 h 1558"/>
              <a:gd name="T30" fmla="*/ 854 w 2024"/>
              <a:gd name="T31" fmla="*/ 802 h 1558"/>
              <a:gd name="T32" fmla="*/ 935 w 2024"/>
              <a:gd name="T33" fmla="*/ 1050 h 1558"/>
              <a:gd name="T34" fmla="*/ 935 w 2024"/>
              <a:gd name="T35" fmla="*/ 1558 h 1558"/>
              <a:gd name="T36" fmla="*/ 1015 w 2024"/>
              <a:gd name="T37" fmla="*/ 1558 h 1558"/>
              <a:gd name="T38" fmla="*/ 1015 w 2024"/>
              <a:gd name="T39" fmla="*/ 1041 h 1558"/>
              <a:gd name="T40" fmla="*/ 1119 w 2024"/>
              <a:gd name="T41" fmla="*/ 765 h 1558"/>
              <a:gd name="T42" fmla="*/ 1260 w 2024"/>
              <a:gd name="T43" fmla="*/ 805 h 1558"/>
              <a:gd name="T44" fmla="*/ 1604 w 2024"/>
              <a:gd name="T45" fmla="*/ 515 h 1558"/>
              <a:gd name="T46" fmla="*/ 1949 w 2024"/>
              <a:gd name="T47" fmla="*/ 154 h 1558"/>
              <a:gd name="T48" fmla="*/ 2024 w 2024"/>
              <a:gd name="T49" fmla="*/ 115 h 1558"/>
              <a:gd name="T50" fmla="*/ 1947 w 2024"/>
              <a:gd name="T51" fmla="*/ 81 h 1558"/>
              <a:gd name="T52" fmla="*/ 1590 w 2024"/>
              <a:gd name="T53" fmla="*/ 0 h 1558"/>
              <a:gd name="T54" fmla="*/ 704 w 2024"/>
              <a:gd name="T55" fmla="*/ 785 h 1558"/>
              <a:gd name="T56" fmla="*/ 704 w 2024"/>
              <a:gd name="T57" fmla="*/ 785 h 1558"/>
              <a:gd name="T58" fmla="*/ 469 w 2024"/>
              <a:gd name="T59" fmla="*/ 628 h 1558"/>
              <a:gd name="T60" fmla="*/ 180 w 2024"/>
              <a:gd name="T61" fmla="*/ 407 h 1558"/>
              <a:gd name="T62" fmla="*/ 465 w 2024"/>
              <a:gd name="T63" fmla="*/ 325 h 1558"/>
              <a:gd name="T64" fmla="*/ 848 w 2024"/>
              <a:gd name="T65" fmla="*/ 551 h 1558"/>
              <a:gd name="T66" fmla="*/ 852 w 2024"/>
              <a:gd name="T67" fmla="*/ 677 h 1558"/>
              <a:gd name="T68" fmla="*/ 652 w 2024"/>
              <a:gd name="T69" fmla="*/ 523 h 1558"/>
              <a:gd name="T70" fmla="*/ 617 w 2024"/>
              <a:gd name="T71" fmla="*/ 500 h 1558"/>
              <a:gd name="T72" fmla="*/ 571 w 2024"/>
              <a:gd name="T73" fmla="*/ 565 h 1558"/>
              <a:gd name="T74" fmla="*/ 609 w 2024"/>
              <a:gd name="T75" fmla="*/ 591 h 1558"/>
              <a:gd name="T76" fmla="*/ 803 w 2024"/>
              <a:gd name="T77" fmla="*/ 741 h 1558"/>
              <a:gd name="T78" fmla="*/ 704 w 2024"/>
              <a:gd name="T79" fmla="*/ 785 h 1558"/>
              <a:gd name="T80" fmla="*/ 1538 w 2024"/>
              <a:gd name="T81" fmla="*/ 470 h 1558"/>
              <a:gd name="T82" fmla="*/ 1260 w 2024"/>
              <a:gd name="T83" fmla="*/ 725 h 1558"/>
              <a:gd name="T84" fmla="*/ 1160 w 2024"/>
              <a:gd name="T85" fmla="*/ 696 h 1558"/>
              <a:gd name="T86" fmla="*/ 1171 w 2024"/>
              <a:gd name="T87" fmla="*/ 679 h 1558"/>
              <a:gd name="T88" fmla="*/ 1332 w 2024"/>
              <a:gd name="T89" fmla="*/ 451 h 1558"/>
              <a:gd name="T90" fmla="*/ 1269 w 2024"/>
              <a:gd name="T91" fmla="*/ 401 h 1558"/>
              <a:gd name="T92" fmla="*/ 1096 w 2024"/>
              <a:gd name="T93" fmla="*/ 649 h 1558"/>
              <a:gd name="T94" fmla="*/ 1057 w 2024"/>
              <a:gd name="T95" fmla="*/ 437 h 1558"/>
              <a:gd name="T96" fmla="*/ 1234 w 2024"/>
              <a:gd name="T97" fmla="*/ 194 h 1558"/>
              <a:gd name="T98" fmla="*/ 1590 w 2024"/>
              <a:gd name="T99" fmla="*/ 80 h 1558"/>
              <a:gd name="T100" fmla="*/ 1842 w 2024"/>
              <a:gd name="T101" fmla="*/ 125 h 1558"/>
              <a:gd name="T102" fmla="*/ 1538 w 2024"/>
              <a:gd name="T103" fmla="*/ 470 h 15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024" h="1558">
                <a:moveTo>
                  <a:pt x="1590" y="0"/>
                </a:moveTo>
                <a:cubicBezTo>
                  <a:pt x="1441" y="0"/>
                  <a:pt x="1301" y="45"/>
                  <a:pt x="1186" y="130"/>
                </a:cubicBezTo>
                <a:cubicBezTo>
                  <a:pt x="1085" y="205"/>
                  <a:pt x="1009" y="310"/>
                  <a:pt x="980" y="416"/>
                </a:cubicBezTo>
                <a:cubicBezTo>
                  <a:pt x="946" y="537"/>
                  <a:pt x="973" y="647"/>
                  <a:pt x="1053" y="720"/>
                </a:cubicBezTo>
                <a:cubicBezTo>
                  <a:pt x="1026" y="768"/>
                  <a:pt x="1000" y="818"/>
                  <a:pt x="980" y="866"/>
                </a:cubicBezTo>
                <a:cubicBezTo>
                  <a:pt x="961" y="820"/>
                  <a:pt x="936" y="779"/>
                  <a:pt x="908" y="742"/>
                </a:cubicBezTo>
                <a:cubicBezTo>
                  <a:pt x="948" y="678"/>
                  <a:pt x="954" y="601"/>
                  <a:pt x="922" y="522"/>
                </a:cubicBezTo>
                <a:cubicBezTo>
                  <a:pt x="893" y="447"/>
                  <a:pt x="833" y="379"/>
                  <a:pt x="755" y="328"/>
                </a:cubicBezTo>
                <a:cubicBezTo>
                  <a:pt x="669" y="274"/>
                  <a:pt x="569" y="245"/>
                  <a:pt x="465" y="245"/>
                </a:cubicBezTo>
                <a:cubicBezTo>
                  <a:pt x="331" y="245"/>
                  <a:pt x="194" y="294"/>
                  <a:pt x="68" y="385"/>
                </a:cubicBezTo>
                <a:cubicBezTo>
                  <a:pt x="0" y="434"/>
                  <a:pt x="0" y="434"/>
                  <a:pt x="0" y="434"/>
                </a:cubicBezTo>
                <a:cubicBezTo>
                  <a:pt x="81" y="456"/>
                  <a:pt x="81" y="456"/>
                  <a:pt x="81" y="456"/>
                </a:cubicBezTo>
                <a:cubicBezTo>
                  <a:pt x="214" y="492"/>
                  <a:pt x="320" y="595"/>
                  <a:pt x="414" y="685"/>
                </a:cubicBezTo>
                <a:cubicBezTo>
                  <a:pt x="509" y="778"/>
                  <a:pt x="600" y="865"/>
                  <a:pt x="704" y="865"/>
                </a:cubicBezTo>
                <a:cubicBezTo>
                  <a:pt x="704" y="865"/>
                  <a:pt x="704" y="865"/>
                  <a:pt x="704" y="865"/>
                </a:cubicBezTo>
                <a:cubicBezTo>
                  <a:pt x="756" y="865"/>
                  <a:pt x="805" y="844"/>
                  <a:pt x="854" y="802"/>
                </a:cubicBezTo>
                <a:cubicBezTo>
                  <a:pt x="902" y="869"/>
                  <a:pt x="935" y="951"/>
                  <a:pt x="935" y="1050"/>
                </a:cubicBezTo>
                <a:cubicBezTo>
                  <a:pt x="935" y="1558"/>
                  <a:pt x="935" y="1558"/>
                  <a:pt x="935" y="1558"/>
                </a:cubicBezTo>
                <a:cubicBezTo>
                  <a:pt x="1015" y="1558"/>
                  <a:pt x="1015" y="1558"/>
                  <a:pt x="1015" y="1558"/>
                </a:cubicBezTo>
                <a:cubicBezTo>
                  <a:pt x="1015" y="1558"/>
                  <a:pt x="1015" y="1067"/>
                  <a:pt x="1015" y="1041"/>
                </a:cubicBezTo>
                <a:cubicBezTo>
                  <a:pt x="1015" y="977"/>
                  <a:pt x="1053" y="883"/>
                  <a:pt x="1119" y="765"/>
                </a:cubicBezTo>
                <a:cubicBezTo>
                  <a:pt x="1169" y="792"/>
                  <a:pt x="1215" y="805"/>
                  <a:pt x="1260" y="805"/>
                </a:cubicBezTo>
                <a:cubicBezTo>
                  <a:pt x="1407" y="805"/>
                  <a:pt x="1503" y="664"/>
                  <a:pt x="1604" y="515"/>
                </a:cubicBezTo>
                <a:cubicBezTo>
                  <a:pt x="1695" y="382"/>
                  <a:pt x="1797" y="232"/>
                  <a:pt x="1949" y="154"/>
                </a:cubicBezTo>
                <a:cubicBezTo>
                  <a:pt x="2024" y="115"/>
                  <a:pt x="2024" y="115"/>
                  <a:pt x="2024" y="115"/>
                </a:cubicBezTo>
                <a:cubicBezTo>
                  <a:pt x="1947" y="81"/>
                  <a:pt x="1947" y="81"/>
                  <a:pt x="1947" y="81"/>
                </a:cubicBezTo>
                <a:cubicBezTo>
                  <a:pt x="1827" y="28"/>
                  <a:pt x="1707" y="0"/>
                  <a:pt x="1590" y="0"/>
                </a:cubicBezTo>
                <a:close/>
                <a:moveTo>
                  <a:pt x="704" y="785"/>
                </a:moveTo>
                <a:cubicBezTo>
                  <a:pt x="704" y="785"/>
                  <a:pt x="704" y="785"/>
                  <a:pt x="704" y="785"/>
                </a:cubicBezTo>
                <a:cubicBezTo>
                  <a:pt x="632" y="785"/>
                  <a:pt x="556" y="712"/>
                  <a:pt x="469" y="628"/>
                </a:cubicBezTo>
                <a:cubicBezTo>
                  <a:pt x="386" y="548"/>
                  <a:pt x="295" y="459"/>
                  <a:pt x="180" y="407"/>
                </a:cubicBezTo>
                <a:cubicBezTo>
                  <a:pt x="273" y="353"/>
                  <a:pt x="369" y="325"/>
                  <a:pt x="465" y="325"/>
                </a:cubicBezTo>
                <a:cubicBezTo>
                  <a:pt x="658" y="325"/>
                  <a:pt x="804" y="439"/>
                  <a:pt x="848" y="551"/>
                </a:cubicBezTo>
                <a:cubicBezTo>
                  <a:pt x="859" y="580"/>
                  <a:pt x="871" y="628"/>
                  <a:pt x="852" y="677"/>
                </a:cubicBezTo>
                <a:cubicBezTo>
                  <a:pt x="780" y="604"/>
                  <a:pt x="701" y="554"/>
                  <a:pt x="652" y="523"/>
                </a:cubicBezTo>
                <a:cubicBezTo>
                  <a:pt x="638" y="514"/>
                  <a:pt x="625" y="506"/>
                  <a:pt x="617" y="500"/>
                </a:cubicBezTo>
                <a:cubicBezTo>
                  <a:pt x="571" y="565"/>
                  <a:pt x="571" y="565"/>
                  <a:pt x="571" y="565"/>
                </a:cubicBezTo>
                <a:cubicBezTo>
                  <a:pt x="581" y="573"/>
                  <a:pt x="594" y="581"/>
                  <a:pt x="609" y="591"/>
                </a:cubicBezTo>
                <a:cubicBezTo>
                  <a:pt x="660" y="623"/>
                  <a:pt x="737" y="671"/>
                  <a:pt x="803" y="741"/>
                </a:cubicBezTo>
                <a:cubicBezTo>
                  <a:pt x="769" y="770"/>
                  <a:pt x="736" y="785"/>
                  <a:pt x="704" y="785"/>
                </a:cubicBezTo>
                <a:close/>
                <a:moveTo>
                  <a:pt x="1538" y="470"/>
                </a:moveTo>
                <a:cubicBezTo>
                  <a:pt x="1445" y="607"/>
                  <a:pt x="1365" y="725"/>
                  <a:pt x="1260" y="725"/>
                </a:cubicBezTo>
                <a:cubicBezTo>
                  <a:pt x="1230" y="725"/>
                  <a:pt x="1197" y="715"/>
                  <a:pt x="1160" y="696"/>
                </a:cubicBezTo>
                <a:cubicBezTo>
                  <a:pt x="1164" y="690"/>
                  <a:pt x="1168" y="685"/>
                  <a:pt x="1171" y="679"/>
                </a:cubicBezTo>
                <a:cubicBezTo>
                  <a:pt x="1250" y="553"/>
                  <a:pt x="1331" y="452"/>
                  <a:pt x="1332" y="451"/>
                </a:cubicBezTo>
                <a:cubicBezTo>
                  <a:pt x="1269" y="401"/>
                  <a:pt x="1269" y="401"/>
                  <a:pt x="1269" y="401"/>
                </a:cubicBezTo>
                <a:cubicBezTo>
                  <a:pt x="1262" y="410"/>
                  <a:pt x="1178" y="517"/>
                  <a:pt x="1096" y="649"/>
                </a:cubicBezTo>
                <a:cubicBezTo>
                  <a:pt x="1047" y="597"/>
                  <a:pt x="1033" y="522"/>
                  <a:pt x="1057" y="437"/>
                </a:cubicBezTo>
                <a:cubicBezTo>
                  <a:pt x="1082" y="348"/>
                  <a:pt x="1146" y="259"/>
                  <a:pt x="1234" y="194"/>
                </a:cubicBezTo>
                <a:cubicBezTo>
                  <a:pt x="1304" y="142"/>
                  <a:pt x="1423" y="80"/>
                  <a:pt x="1590" y="80"/>
                </a:cubicBezTo>
                <a:cubicBezTo>
                  <a:pt x="1672" y="80"/>
                  <a:pt x="1756" y="95"/>
                  <a:pt x="1842" y="125"/>
                </a:cubicBezTo>
                <a:cubicBezTo>
                  <a:pt x="1711" y="216"/>
                  <a:pt x="1620" y="350"/>
                  <a:pt x="1538" y="47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9" name="TextBox 3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7044412" y="4756333"/>
            <a:ext cx="79220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  <a:cs typeface="等线" panose="02010600030101010101" charset="-122"/>
              </a:rPr>
              <a:t>Planting</a:t>
            </a:r>
          </a:p>
        </p:txBody>
      </p:sp>
      <p:sp>
        <p:nvSpPr>
          <p:cNvPr id="20" name="Rounded Rectangle 4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372135" y="3799395"/>
            <a:ext cx="1448047" cy="1402773"/>
          </a:xfrm>
          <a:prstGeom prst="roundRect">
            <a:avLst/>
          </a:prstGeom>
          <a:solidFill>
            <a:schemeClr val="accent2">
              <a:lumMod val="20000"/>
              <a:lumOff val="80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grpSp>
        <p:nvGrpSpPr>
          <p:cNvPr id="21" name="Group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>
            <a:grpSpLocks noChangeAspect="1"/>
          </p:cNvGrpSpPr>
          <p:nvPr/>
        </p:nvGrpSpPr>
        <p:grpSpPr>
          <a:xfrm>
            <a:off x="8829629" y="4014784"/>
            <a:ext cx="533058" cy="592749"/>
            <a:chOff x="5087" y="2971"/>
            <a:chExt cx="768" cy="854"/>
          </a:xfrm>
          <a:solidFill>
            <a:schemeClr val="bg1"/>
          </a:solidFill>
        </p:grpSpPr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5351" y="2971"/>
              <a:ext cx="504" cy="392"/>
            </a:xfrm>
            <a:custGeom>
              <a:avLst/>
              <a:gdLst>
                <a:gd name="T0" fmla="*/ 1188 w 1220"/>
                <a:gd name="T1" fmla="*/ 509 h 952"/>
                <a:gd name="T2" fmla="*/ 1074 w 1220"/>
                <a:gd name="T3" fmla="*/ 408 h 952"/>
                <a:gd name="T4" fmla="*/ 1141 w 1220"/>
                <a:gd name="T5" fmla="*/ 364 h 952"/>
                <a:gd name="T6" fmla="*/ 1141 w 1220"/>
                <a:gd name="T7" fmla="*/ 79 h 952"/>
                <a:gd name="T8" fmla="*/ 857 w 1220"/>
                <a:gd name="T9" fmla="*/ 79 h 952"/>
                <a:gd name="T10" fmla="*/ 805 w 1220"/>
                <a:gd name="T11" fmla="*/ 169 h 952"/>
                <a:gd name="T12" fmla="*/ 756 w 1220"/>
                <a:gd name="T13" fmla="*/ 126 h 952"/>
                <a:gd name="T14" fmla="*/ 713 w 1220"/>
                <a:gd name="T15" fmla="*/ 127 h 952"/>
                <a:gd name="T16" fmla="*/ 377 w 1220"/>
                <a:gd name="T17" fmla="*/ 463 h 952"/>
                <a:gd name="T18" fmla="*/ 376 w 1220"/>
                <a:gd name="T19" fmla="*/ 506 h 952"/>
                <a:gd name="T20" fmla="*/ 493 w 1220"/>
                <a:gd name="T21" fmla="*/ 638 h 952"/>
                <a:gd name="T22" fmla="*/ 180 w 1220"/>
                <a:gd name="T23" fmla="*/ 623 h 952"/>
                <a:gd name="T24" fmla="*/ 31 w 1220"/>
                <a:gd name="T25" fmla="*/ 534 h 952"/>
                <a:gd name="T26" fmla="*/ 0 w 1220"/>
                <a:gd name="T27" fmla="*/ 565 h 952"/>
                <a:gd name="T28" fmla="*/ 0 w 1220"/>
                <a:gd name="T29" fmla="*/ 837 h 952"/>
                <a:gd name="T30" fmla="*/ 31 w 1220"/>
                <a:gd name="T31" fmla="*/ 868 h 952"/>
                <a:gd name="T32" fmla="*/ 148 w 1220"/>
                <a:gd name="T33" fmla="*/ 822 h 952"/>
                <a:gd name="T34" fmla="*/ 175 w 1220"/>
                <a:gd name="T35" fmla="*/ 787 h 952"/>
                <a:gd name="T36" fmla="*/ 690 w 1220"/>
                <a:gd name="T37" fmla="*/ 860 h 952"/>
                <a:gd name="T38" fmla="*/ 759 w 1220"/>
                <a:gd name="T39" fmla="*/ 938 h 952"/>
                <a:gd name="T40" fmla="*/ 806 w 1220"/>
                <a:gd name="T41" fmla="*/ 939 h 952"/>
                <a:gd name="T42" fmla="*/ 1189 w 1220"/>
                <a:gd name="T43" fmla="*/ 556 h 952"/>
                <a:gd name="T44" fmla="*/ 1188 w 1220"/>
                <a:gd name="T45" fmla="*/ 509 h 952"/>
                <a:gd name="T46" fmla="*/ 103 w 1220"/>
                <a:gd name="T47" fmla="*/ 776 h 952"/>
                <a:gd name="T48" fmla="*/ 63 w 1220"/>
                <a:gd name="T49" fmla="*/ 800 h 952"/>
                <a:gd name="T50" fmla="*/ 63 w 1220"/>
                <a:gd name="T51" fmla="*/ 602 h 952"/>
                <a:gd name="T52" fmla="*/ 127 w 1220"/>
                <a:gd name="T53" fmla="*/ 661 h 952"/>
                <a:gd name="T54" fmla="*/ 103 w 1220"/>
                <a:gd name="T55" fmla="*/ 776 h 952"/>
                <a:gd name="T56" fmla="*/ 861 w 1220"/>
                <a:gd name="T57" fmla="*/ 215 h 952"/>
                <a:gd name="T58" fmla="*/ 902 w 1220"/>
                <a:gd name="T59" fmla="*/ 124 h 952"/>
                <a:gd name="T60" fmla="*/ 1096 w 1220"/>
                <a:gd name="T61" fmla="*/ 124 h 952"/>
                <a:gd name="T62" fmla="*/ 1096 w 1220"/>
                <a:gd name="T63" fmla="*/ 319 h 952"/>
                <a:gd name="T64" fmla="*/ 1018 w 1220"/>
                <a:gd name="T65" fmla="*/ 358 h 952"/>
                <a:gd name="T66" fmla="*/ 861 w 1220"/>
                <a:gd name="T67" fmla="*/ 219 h 952"/>
                <a:gd name="T68" fmla="*/ 861 w 1220"/>
                <a:gd name="T69" fmla="*/ 215 h 952"/>
                <a:gd name="T70" fmla="*/ 443 w 1220"/>
                <a:gd name="T71" fmla="*/ 486 h 952"/>
                <a:gd name="T72" fmla="*/ 736 w 1220"/>
                <a:gd name="T73" fmla="*/ 193 h 952"/>
                <a:gd name="T74" fmla="*/ 841 w 1220"/>
                <a:gd name="T75" fmla="*/ 286 h 952"/>
                <a:gd name="T76" fmla="*/ 536 w 1220"/>
                <a:gd name="T77" fmla="*/ 591 h 952"/>
                <a:gd name="T78" fmla="*/ 443 w 1220"/>
                <a:gd name="T79" fmla="*/ 486 h 952"/>
                <a:gd name="T80" fmla="*/ 197 w 1220"/>
                <a:gd name="T81" fmla="*/ 726 h 952"/>
                <a:gd name="T82" fmla="*/ 198 w 1220"/>
                <a:gd name="T83" fmla="*/ 688 h 952"/>
                <a:gd name="T84" fmla="*/ 552 w 1220"/>
                <a:gd name="T85" fmla="*/ 705 h 952"/>
                <a:gd name="T86" fmla="*/ 555 w 1220"/>
                <a:gd name="T87" fmla="*/ 708 h 952"/>
                <a:gd name="T88" fmla="*/ 625 w 1220"/>
                <a:gd name="T89" fmla="*/ 787 h 952"/>
                <a:gd name="T90" fmla="*/ 197 w 1220"/>
                <a:gd name="T91" fmla="*/ 726 h 952"/>
                <a:gd name="T92" fmla="*/ 785 w 1220"/>
                <a:gd name="T93" fmla="*/ 871 h 952"/>
                <a:gd name="T94" fmla="*/ 669 w 1220"/>
                <a:gd name="T95" fmla="*/ 740 h 952"/>
                <a:gd name="T96" fmla="*/ 842 w 1220"/>
                <a:gd name="T97" fmla="*/ 567 h 952"/>
                <a:gd name="T98" fmla="*/ 842 w 1220"/>
                <a:gd name="T99" fmla="*/ 522 h 952"/>
                <a:gd name="T100" fmla="*/ 797 w 1220"/>
                <a:gd name="T101" fmla="*/ 522 h 952"/>
                <a:gd name="T102" fmla="*/ 627 w 1220"/>
                <a:gd name="T103" fmla="*/ 693 h 952"/>
                <a:gd name="T104" fmla="*/ 579 w 1220"/>
                <a:gd name="T105" fmla="*/ 639 h 952"/>
                <a:gd name="T106" fmla="*/ 889 w 1220"/>
                <a:gd name="T107" fmla="*/ 328 h 952"/>
                <a:gd name="T108" fmla="*/ 943 w 1220"/>
                <a:gd name="T109" fmla="*/ 376 h 952"/>
                <a:gd name="T110" fmla="*/ 895 w 1220"/>
                <a:gd name="T111" fmla="*/ 424 h 952"/>
                <a:gd name="T112" fmla="*/ 895 w 1220"/>
                <a:gd name="T113" fmla="*/ 469 h 952"/>
                <a:gd name="T114" fmla="*/ 940 w 1220"/>
                <a:gd name="T115" fmla="*/ 469 h 952"/>
                <a:gd name="T116" fmla="*/ 990 w 1220"/>
                <a:gd name="T117" fmla="*/ 419 h 952"/>
                <a:gd name="T118" fmla="*/ 1121 w 1220"/>
                <a:gd name="T119" fmla="*/ 534 h 952"/>
                <a:gd name="T120" fmla="*/ 785 w 1220"/>
                <a:gd name="T121" fmla="*/ 871 h 9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20" h="952">
                  <a:moveTo>
                    <a:pt x="1188" y="509"/>
                  </a:moveTo>
                  <a:cubicBezTo>
                    <a:pt x="1074" y="408"/>
                    <a:pt x="1074" y="408"/>
                    <a:pt x="1074" y="408"/>
                  </a:cubicBezTo>
                  <a:cubicBezTo>
                    <a:pt x="1099" y="398"/>
                    <a:pt x="1122" y="383"/>
                    <a:pt x="1141" y="364"/>
                  </a:cubicBezTo>
                  <a:cubicBezTo>
                    <a:pt x="1220" y="285"/>
                    <a:pt x="1220" y="157"/>
                    <a:pt x="1141" y="79"/>
                  </a:cubicBezTo>
                  <a:cubicBezTo>
                    <a:pt x="1063" y="0"/>
                    <a:pt x="935" y="0"/>
                    <a:pt x="857" y="79"/>
                  </a:cubicBezTo>
                  <a:cubicBezTo>
                    <a:pt x="832" y="104"/>
                    <a:pt x="814" y="135"/>
                    <a:pt x="805" y="169"/>
                  </a:cubicBezTo>
                  <a:cubicBezTo>
                    <a:pt x="756" y="126"/>
                    <a:pt x="756" y="126"/>
                    <a:pt x="756" y="126"/>
                  </a:cubicBezTo>
                  <a:cubicBezTo>
                    <a:pt x="744" y="114"/>
                    <a:pt x="725" y="115"/>
                    <a:pt x="713" y="127"/>
                  </a:cubicBezTo>
                  <a:cubicBezTo>
                    <a:pt x="377" y="463"/>
                    <a:pt x="377" y="463"/>
                    <a:pt x="377" y="463"/>
                  </a:cubicBezTo>
                  <a:cubicBezTo>
                    <a:pt x="365" y="475"/>
                    <a:pt x="364" y="494"/>
                    <a:pt x="376" y="506"/>
                  </a:cubicBezTo>
                  <a:cubicBezTo>
                    <a:pt x="493" y="638"/>
                    <a:pt x="493" y="638"/>
                    <a:pt x="493" y="638"/>
                  </a:cubicBezTo>
                  <a:cubicBezTo>
                    <a:pt x="180" y="623"/>
                    <a:pt x="180" y="623"/>
                    <a:pt x="180" y="623"/>
                  </a:cubicBezTo>
                  <a:cubicBezTo>
                    <a:pt x="151" y="569"/>
                    <a:pt x="93" y="534"/>
                    <a:pt x="31" y="534"/>
                  </a:cubicBezTo>
                  <a:cubicBezTo>
                    <a:pt x="14" y="534"/>
                    <a:pt x="0" y="548"/>
                    <a:pt x="0" y="565"/>
                  </a:cubicBezTo>
                  <a:cubicBezTo>
                    <a:pt x="0" y="837"/>
                    <a:pt x="0" y="837"/>
                    <a:pt x="0" y="837"/>
                  </a:cubicBezTo>
                  <a:cubicBezTo>
                    <a:pt x="0" y="854"/>
                    <a:pt x="14" y="868"/>
                    <a:pt x="31" y="868"/>
                  </a:cubicBezTo>
                  <a:cubicBezTo>
                    <a:pt x="74" y="868"/>
                    <a:pt x="117" y="851"/>
                    <a:pt x="148" y="822"/>
                  </a:cubicBezTo>
                  <a:cubicBezTo>
                    <a:pt x="158" y="811"/>
                    <a:pt x="168" y="799"/>
                    <a:pt x="175" y="787"/>
                  </a:cubicBezTo>
                  <a:cubicBezTo>
                    <a:pt x="690" y="860"/>
                    <a:pt x="690" y="860"/>
                    <a:pt x="690" y="860"/>
                  </a:cubicBezTo>
                  <a:cubicBezTo>
                    <a:pt x="759" y="938"/>
                    <a:pt x="759" y="938"/>
                    <a:pt x="759" y="938"/>
                  </a:cubicBezTo>
                  <a:cubicBezTo>
                    <a:pt x="771" y="951"/>
                    <a:pt x="793" y="952"/>
                    <a:pt x="806" y="939"/>
                  </a:cubicBezTo>
                  <a:cubicBezTo>
                    <a:pt x="1189" y="556"/>
                    <a:pt x="1189" y="556"/>
                    <a:pt x="1189" y="556"/>
                  </a:cubicBezTo>
                  <a:cubicBezTo>
                    <a:pt x="1202" y="543"/>
                    <a:pt x="1202" y="521"/>
                    <a:pt x="1188" y="509"/>
                  </a:cubicBezTo>
                  <a:close/>
                  <a:moveTo>
                    <a:pt x="103" y="776"/>
                  </a:moveTo>
                  <a:cubicBezTo>
                    <a:pt x="92" y="787"/>
                    <a:pt x="78" y="795"/>
                    <a:pt x="63" y="800"/>
                  </a:cubicBezTo>
                  <a:cubicBezTo>
                    <a:pt x="63" y="602"/>
                    <a:pt x="63" y="602"/>
                    <a:pt x="63" y="602"/>
                  </a:cubicBezTo>
                  <a:cubicBezTo>
                    <a:pt x="91" y="612"/>
                    <a:pt x="116" y="633"/>
                    <a:pt x="127" y="661"/>
                  </a:cubicBezTo>
                  <a:cubicBezTo>
                    <a:pt x="143" y="699"/>
                    <a:pt x="134" y="747"/>
                    <a:pt x="103" y="776"/>
                  </a:cubicBezTo>
                  <a:close/>
                  <a:moveTo>
                    <a:pt x="861" y="215"/>
                  </a:moveTo>
                  <a:cubicBezTo>
                    <a:pt x="863" y="180"/>
                    <a:pt x="877" y="148"/>
                    <a:pt x="902" y="124"/>
                  </a:cubicBezTo>
                  <a:cubicBezTo>
                    <a:pt x="955" y="70"/>
                    <a:pt x="1043" y="70"/>
                    <a:pt x="1096" y="124"/>
                  </a:cubicBezTo>
                  <a:cubicBezTo>
                    <a:pt x="1150" y="178"/>
                    <a:pt x="1150" y="265"/>
                    <a:pt x="1096" y="319"/>
                  </a:cubicBezTo>
                  <a:cubicBezTo>
                    <a:pt x="1075" y="340"/>
                    <a:pt x="1048" y="354"/>
                    <a:pt x="1018" y="358"/>
                  </a:cubicBezTo>
                  <a:cubicBezTo>
                    <a:pt x="861" y="219"/>
                    <a:pt x="861" y="219"/>
                    <a:pt x="861" y="219"/>
                  </a:cubicBezTo>
                  <a:cubicBezTo>
                    <a:pt x="861" y="217"/>
                    <a:pt x="861" y="216"/>
                    <a:pt x="861" y="215"/>
                  </a:cubicBezTo>
                  <a:close/>
                  <a:moveTo>
                    <a:pt x="443" y="486"/>
                  </a:moveTo>
                  <a:cubicBezTo>
                    <a:pt x="736" y="193"/>
                    <a:pt x="736" y="193"/>
                    <a:pt x="736" y="193"/>
                  </a:cubicBezTo>
                  <a:cubicBezTo>
                    <a:pt x="841" y="286"/>
                    <a:pt x="841" y="286"/>
                    <a:pt x="841" y="286"/>
                  </a:cubicBezTo>
                  <a:cubicBezTo>
                    <a:pt x="536" y="591"/>
                    <a:pt x="536" y="591"/>
                    <a:pt x="536" y="591"/>
                  </a:cubicBezTo>
                  <a:lnTo>
                    <a:pt x="443" y="486"/>
                  </a:lnTo>
                  <a:close/>
                  <a:moveTo>
                    <a:pt x="197" y="726"/>
                  </a:moveTo>
                  <a:cubicBezTo>
                    <a:pt x="199" y="713"/>
                    <a:pt x="199" y="700"/>
                    <a:pt x="198" y="688"/>
                  </a:cubicBezTo>
                  <a:cubicBezTo>
                    <a:pt x="552" y="705"/>
                    <a:pt x="552" y="705"/>
                    <a:pt x="552" y="705"/>
                  </a:cubicBezTo>
                  <a:cubicBezTo>
                    <a:pt x="555" y="708"/>
                    <a:pt x="555" y="708"/>
                    <a:pt x="555" y="708"/>
                  </a:cubicBezTo>
                  <a:cubicBezTo>
                    <a:pt x="625" y="787"/>
                    <a:pt x="625" y="787"/>
                    <a:pt x="625" y="787"/>
                  </a:cubicBezTo>
                  <a:lnTo>
                    <a:pt x="197" y="726"/>
                  </a:lnTo>
                  <a:close/>
                  <a:moveTo>
                    <a:pt x="785" y="871"/>
                  </a:moveTo>
                  <a:cubicBezTo>
                    <a:pt x="669" y="740"/>
                    <a:pt x="669" y="740"/>
                    <a:pt x="669" y="740"/>
                  </a:cubicBezTo>
                  <a:cubicBezTo>
                    <a:pt x="842" y="567"/>
                    <a:pt x="842" y="567"/>
                    <a:pt x="842" y="567"/>
                  </a:cubicBezTo>
                  <a:cubicBezTo>
                    <a:pt x="854" y="555"/>
                    <a:pt x="854" y="535"/>
                    <a:pt x="842" y="522"/>
                  </a:cubicBezTo>
                  <a:cubicBezTo>
                    <a:pt x="830" y="510"/>
                    <a:pt x="809" y="510"/>
                    <a:pt x="797" y="522"/>
                  </a:cubicBezTo>
                  <a:cubicBezTo>
                    <a:pt x="627" y="693"/>
                    <a:pt x="627" y="693"/>
                    <a:pt x="627" y="693"/>
                  </a:cubicBezTo>
                  <a:cubicBezTo>
                    <a:pt x="579" y="639"/>
                    <a:pt x="579" y="639"/>
                    <a:pt x="579" y="639"/>
                  </a:cubicBezTo>
                  <a:cubicBezTo>
                    <a:pt x="889" y="328"/>
                    <a:pt x="889" y="328"/>
                    <a:pt x="889" y="328"/>
                  </a:cubicBezTo>
                  <a:cubicBezTo>
                    <a:pt x="943" y="376"/>
                    <a:pt x="943" y="376"/>
                    <a:pt x="943" y="376"/>
                  </a:cubicBezTo>
                  <a:cubicBezTo>
                    <a:pt x="895" y="424"/>
                    <a:pt x="895" y="424"/>
                    <a:pt x="895" y="424"/>
                  </a:cubicBezTo>
                  <a:cubicBezTo>
                    <a:pt x="883" y="436"/>
                    <a:pt x="883" y="457"/>
                    <a:pt x="895" y="469"/>
                  </a:cubicBezTo>
                  <a:cubicBezTo>
                    <a:pt x="908" y="481"/>
                    <a:pt x="928" y="481"/>
                    <a:pt x="940" y="469"/>
                  </a:cubicBezTo>
                  <a:cubicBezTo>
                    <a:pt x="990" y="419"/>
                    <a:pt x="990" y="419"/>
                    <a:pt x="990" y="419"/>
                  </a:cubicBezTo>
                  <a:cubicBezTo>
                    <a:pt x="1121" y="534"/>
                    <a:pt x="1121" y="534"/>
                    <a:pt x="1121" y="534"/>
                  </a:cubicBezTo>
                  <a:lnTo>
                    <a:pt x="785" y="8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23" name="Freeform 10"/>
            <p:cNvSpPr/>
            <p:nvPr/>
          </p:nvSpPr>
          <p:spPr bwMode="auto">
            <a:xfrm>
              <a:off x="5267" y="3351"/>
              <a:ext cx="56" cy="61"/>
            </a:xfrm>
            <a:custGeom>
              <a:avLst/>
              <a:gdLst>
                <a:gd name="T0" fmla="*/ 123 w 136"/>
                <a:gd name="T1" fmla="*/ 12 h 148"/>
                <a:gd name="T2" fmla="*/ 78 w 136"/>
                <a:gd name="T3" fmla="*/ 12 h 148"/>
                <a:gd name="T4" fmla="*/ 9 w 136"/>
                <a:gd name="T5" fmla="*/ 93 h 148"/>
                <a:gd name="T6" fmla="*/ 13 w 136"/>
                <a:gd name="T7" fmla="*/ 135 h 148"/>
                <a:gd name="T8" fmla="*/ 60 w 136"/>
                <a:gd name="T9" fmla="*/ 130 h 148"/>
                <a:gd name="T10" fmla="*/ 123 w 136"/>
                <a:gd name="T11" fmla="*/ 57 h 148"/>
                <a:gd name="T12" fmla="*/ 123 w 136"/>
                <a:gd name="T13" fmla="*/ 1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148">
                  <a:moveTo>
                    <a:pt x="123" y="12"/>
                  </a:moveTo>
                  <a:cubicBezTo>
                    <a:pt x="111" y="0"/>
                    <a:pt x="91" y="0"/>
                    <a:pt x="78" y="12"/>
                  </a:cubicBezTo>
                  <a:cubicBezTo>
                    <a:pt x="53" y="37"/>
                    <a:pt x="30" y="64"/>
                    <a:pt x="9" y="93"/>
                  </a:cubicBezTo>
                  <a:cubicBezTo>
                    <a:pt x="0" y="105"/>
                    <a:pt x="1" y="124"/>
                    <a:pt x="13" y="135"/>
                  </a:cubicBezTo>
                  <a:cubicBezTo>
                    <a:pt x="26" y="148"/>
                    <a:pt x="49" y="146"/>
                    <a:pt x="60" y="130"/>
                  </a:cubicBezTo>
                  <a:cubicBezTo>
                    <a:pt x="79" y="104"/>
                    <a:pt x="100" y="80"/>
                    <a:pt x="123" y="57"/>
                  </a:cubicBezTo>
                  <a:cubicBezTo>
                    <a:pt x="136" y="45"/>
                    <a:pt x="136" y="25"/>
                    <a:pt x="12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24" name="Freeform 11"/>
            <p:cNvSpPr/>
            <p:nvPr/>
          </p:nvSpPr>
          <p:spPr bwMode="auto">
            <a:xfrm>
              <a:off x="5206" y="3344"/>
              <a:ext cx="53" cy="65"/>
            </a:xfrm>
            <a:custGeom>
              <a:avLst/>
              <a:gdLst>
                <a:gd name="T0" fmla="*/ 112 w 129"/>
                <a:gd name="T1" fmla="*/ 11 h 157"/>
                <a:gd name="T2" fmla="*/ 68 w 129"/>
                <a:gd name="T3" fmla="*/ 17 h 157"/>
                <a:gd name="T4" fmla="*/ 8 w 129"/>
                <a:gd name="T5" fmla="*/ 105 h 157"/>
                <a:gd name="T6" fmla="*/ 17 w 129"/>
                <a:gd name="T7" fmla="*/ 146 h 157"/>
                <a:gd name="T8" fmla="*/ 63 w 129"/>
                <a:gd name="T9" fmla="*/ 137 h 157"/>
                <a:gd name="T10" fmla="*/ 118 w 129"/>
                <a:gd name="T11" fmla="*/ 56 h 157"/>
                <a:gd name="T12" fmla="*/ 112 w 129"/>
                <a:gd name="T13" fmla="*/ 11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9" h="157">
                  <a:moveTo>
                    <a:pt x="112" y="11"/>
                  </a:moveTo>
                  <a:cubicBezTo>
                    <a:pt x="98" y="0"/>
                    <a:pt x="78" y="3"/>
                    <a:pt x="68" y="17"/>
                  </a:cubicBezTo>
                  <a:cubicBezTo>
                    <a:pt x="46" y="45"/>
                    <a:pt x="26" y="74"/>
                    <a:pt x="8" y="105"/>
                  </a:cubicBezTo>
                  <a:cubicBezTo>
                    <a:pt x="0" y="119"/>
                    <a:pt x="4" y="137"/>
                    <a:pt x="17" y="146"/>
                  </a:cubicBezTo>
                  <a:cubicBezTo>
                    <a:pt x="32" y="157"/>
                    <a:pt x="54" y="153"/>
                    <a:pt x="63" y="137"/>
                  </a:cubicBezTo>
                  <a:cubicBezTo>
                    <a:pt x="80" y="109"/>
                    <a:pt x="98" y="81"/>
                    <a:pt x="118" y="56"/>
                  </a:cubicBezTo>
                  <a:cubicBezTo>
                    <a:pt x="129" y="42"/>
                    <a:pt x="126" y="22"/>
                    <a:pt x="11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25" name="Freeform 12"/>
            <p:cNvSpPr/>
            <p:nvPr/>
          </p:nvSpPr>
          <p:spPr bwMode="auto">
            <a:xfrm>
              <a:off x="5258" y="3286"/>
              <a:ext cx="61" cy="55"/>
            </a:xfrm>
            <a:custGeom>
              <a:avLst/>
              <a:gdLst>
                <a:gd name="T0" fmla="*/ 137 w 148"/>
                <a:gd name="T1" fmla="*/ 16 h 134"/>
                <a:gd name="T2" fmla="*/ 93 w 148"/>
                <a:gd name="T3" fmla="*/ 10 h 134"/>
                <a:gd name="T4" fmla="*/ 13 w 148"/>
                <a:gd name="T5" fmla="*/ 80 h 134"/>
                <a:gd name="T6" fmla="*/ 13 w 148"/>
                <a:gd name="T7" fmla="*/ 125 h 134"/>
                <a:gd name="T8" fmla="*/ 35 w 148"/>
                <a:gd name="T9" fmla="*/ 134 h 134"/>
                <a:gd name="T10" fmla="*/ 58 w 148"/>
                <a:gd name="T11" fmla="*/ 125 h 134"/>
                <a:gd name="T12" fmla="*/ 131 w 148"/>
                <a:gd name="T13" fmla="*/ 61 h 134"/>
                <a:gd name="T14" fmla="*/ 137 w 148"/>
                <a:gd name="T15" fmla="*/ 16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8" h="134">
                  <a:moveTo>
                    <a:pt x="137" y="16"/>
                  </a:moveTo>
                  <a:cubicBezTo>
                    <a:pt x="127" y="2"/>
                    <a:pt x="107" y="0"/>
                    <a:pt x="93" y="10"/>
                  </a:cubicBezTo>
                  <a:cubicBezTo>
                    <a:pt x="65" y="32"/>
                    <a:pt x="38" y="55"/>
                    <a:pt x="13" y="80"/>
                  </a:cubicBezTo>
                  <a:cubicBezTo>
                    <a:pt x="0" y="92"/>
                    <a:pt x="0" y="112"/>
                    <a:pt x="13" y="125"/>
                  </a:cubicBezTo>
                  <a:cubicBezTo>
                    <a:pt x="19" y="131"/>
                    <a:pt x="27" y="134"/>
                    <a:pt x="35" y="134"/>
                  </a:cubicBezTo>
                  <a:cubicBezTo>
                    <a:pt x="43" y="134"/>
                    <a:pt x="51" y="131"/>
                    <a:pt x="58" y="125"/>
                  </a:cubicBezTo>
                  <a:cubicBezTo>
                    <a:pt x="81" y="102"/>
                    <a:pt x="105" y="81"/>
                    <a:pt x="131" y="61"/>
                  </a:cubicBezTo>
                  <a:cubicBezTo>
                    <a:pt x="145" y="50"/>
                    <a:pt x="148" y="30"/>
                    <a:pt x="137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26" name="Freeform 13"/>
            <p:cNvSpPr/>
            <p:nvPr/>
          </p:nvSpPr>
          <p:spPr bwMode="auto">
            <a:xfrm>
              <a:off x="5140" y="3340"/>
              <a:ext cx="50" cy="66"/>
            </a:xfrm>
            <a:custGeom>
              <a:avLst/>
              <a:gdLst>
                <a:gd name="T0" fmla="*/ 102 w 122"/>
                <a:gd name="T1" fmla="*/ 9 h 161"/>
                <a:gd name="T2" fmla="*/ 59 w 122"/>
                <a:gd name="T3" fmla="*/ 19 h 161"/>
                <a:gd name="T4" fmla="*/ 8 w 122"/>
                <a:gd name="T5" fmla="*/ 112 h 161"/>
                <a:gd name="T6" fmla="*/ 23 w 122"/>
                <a:gd name="T7" fmla="*/ 154 h 161"/>
                <a:gd name="T8" fmla="*/ 65 w 122"/>
                <a:gd name="T9" fmla="*/ 139 h 161"/>
                <a:gd name="T10" fmla="*/ 113 w 122"/>
                <a:gd name="T11" fmla="*/ 53 h 161"/>
                <a:gd name="T12" fmla="*/ 102 w 122"/>
                <a:gd name="T13" fmla="*/ 9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2" h="161">
                  <a:moveTo>
                    <a:pt x="102" y="9"/>
                  </a:moveTo>
                  <a:cubicBezTo>
                    <a:pt x="87" y="0"/>
                    <a:pt x="68" y="4"/>
                    <a:pt x="59" y="19"/>
                  </a:cubicBezTo>
                  <a:cubicBezTo>
                    <a:pt x="40" y="49"/>
                    <a:pt x="23" y="80"/>
                    <a:pt x="8" y="112"/>
                  </a:cubicBezTo>
                  <a:cubicBezTo>
                    <a:pt x="0" y="127"/>
                    <a:pt x="7" y="146"/>
                    <a:pt x="23" y="154"/>
                  </a:cubicBezTo>
                  <a:cubicBezTo>
                    <a:pt x="39" y="161"/>
                    <a:pt x="58" y="155"/>
                    <a:pt x="65" y="139"/>
                  </a:cubicBezTo>
                  <a:cubicBezTo>
                    <a:pt x="79" y="109"/>
                    <a:pt x="95" y="81"/>
                    <a:pt x="113" y="53"/>
                  </a:cubicBezTo>
                  <a:cubicBezTo>
                    <a:pt x="122" y="38"/>
                    <a:pt x="117" y="18"/>
                    <a:pt x="10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27" name="Freeform 14"/>
            <p:cNvSpPr/>
            <p:nvPr/>
          </p:nvSpPr>
          <p:spPr bwMode="auto">
            <a:xfrm>
              <a:off x="5184" y="3274"/>
              <a:ext cx="57" cy="61"/>
            </a:xfrm>
            <a:custGeom>
              <a:avLst/>
              <a:gdLst>
                <a:gd name="T0" fmla="*/ 125 w 138"/>
                <a:gd name="T1" fmla="*/ 13 h 147"/>
                <a:gd name="T2" fmla="*/ 81 w 138"/>
                <a:gd name="T3" fmla="*/ 13 h 147"/>
                <a:gd name="T4" fmla="*/ 11 w 138"/>
                <a:gd name="T5" fmla="*/ 92 h 147"/>
                <a:gd name="T6" fmla="*/ 16 w 138"/>
                <a:gd name="T7" fmla="*/ 137 h 147"/>
                <a:gd name="T8" fmla="*/ 61 w 138"/>
                <a:gd name="T9" fmla="*/ 131 h 147"/>
                <a:gd name="T10" fmla="*/ 126 w 138"/>
                <a:gd name="T11" fmla="*/ 58 h 147"/>
                <a:gd name="T12" fmla="*/ 125 w 138"/>
                <a:gd name="T13" fmla="*/ 13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47">
                  <a:moveTo>
                    <a:pt x="125" y="13"/>
                  </a:moveTo>
                  <a:cubicBezTo>
                    <a:pt x="113" y="0"/>
                    <a:pt x="93" y="1"/>
                    <a:pt x="81" y="13"/>
                  </a:cubicBezTo>
                  <a:cubicBezTo>
                    <a:pt x="56" y="38"/>
                    <a:pt x="33" y="65"/>
                    <a:pt x="11" y="92"/>
                  </a:cubicBezTo>
                  <a:cubicBezTo>
                    <a:pt x="0" y="106"/>
                    <a:pt x="2" y="126"/>
                    <a:pt x="16" y="137"/>
                  </a:cubicBezTo>
                  <a:cubicBezTo>
                    <a:pt x="30" y="147"/>
                    <a:pt x="50" y="145"/>
                    <a:pt x="61" y="131"/>
                  </a:cubicBezTo>
                  <a:cubicBezTo>
                    <a:pt x="81" y="106"/>
                    <a:pt x="103" y="81"/>
                    <a:pt x="126" y="58"/>
                  </a:cubicBezTo>
                  <a:cubicBezTo>
                    <a:pt x="138" y="45"/>
                    <a:pt x="138" y="25"/>
                    <a:pt x="125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28" name="Freeform 15"/>
            <p:cNvSpPr/>
            <p:nvPr/>
          </p:nvSpPr>
          <p:spPr bwMode="auto">
            <a:xfrm>
              <a:off x="5244" y="3221"/>
              <a:ext cx="63" cy="53"/>
            </a:xfrm>
            <a:custGeom>
              <a:avLst/>
              <a:gdLst>
                <a:gd name="T0" fmla="*/ 143 w 153"/>
                <a:gd name="T1" fmla="*/ 19 h 128"/>
                <a:gd name="T2" fmla="*/ 99 w 153"/>
                <a:gd name="T3" fmla="*/ 10 h 128"/>
                <a:gd name="T4" fmla="*/ 14 w 153"/>
                <a:gd name="T5" fmla="*/ 71 h 128"/>
                <a:gd name="T6" fmla="*/ 4 w 153"/>
                <a:gd name="T7" fmla="*/ 105 h 128"/>
                <a:gd name="T8" fmla="*/ 34 w 153"/>
                <a:gd name="T9" fmla="*/ 128 h 128"/>
                <a:gd name="T10" fmla="*/ 54 w 153"/>
                <a:gd name="T11" fmla="*/ 121 h 128"/>
                <a:gd name="T12" fmla="*/ 134 w 153"/>
                <a:gd name="T13" fmla="*/ 63 h 128"/>
                <a:gd name="T14" fmla="*/ 143 w 153"/>
                <a:gd name="T15" fmla="*/ 1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3" h="128">
                  <a:moveTo>
                    <a:pt x="143" y="19"/>
                  </a:moveTo>
                  <a:cubicBezTo>
                    <a:pt x="134" y="4"/>
                    <a:pt x="114" y="0"/>
                    <a:pt x="99" y="10"/>
                  </a:cubicBezTo>
                  <a:cubicBezTo>
                    <a:pt x="70" y="29"/>
                    <a:pt x="41" y="49"/>
                    <a:pt x="14" y="71"/>
                  </a:cubicBezTo>
                  <a:cubicBezTo>
                    <a:pt x="4" y="79"/>
                    <a:pt x="0" y="93"/>
                    <a:pt x="4" y="105"/>
                  </a:cubicBezTo>
                  <a:cubicBezTo>
                    <a:pt x="8" y="119"/>
                    <a:pt x="21" y="128"/>
                    <a:pt x="34" y="128"/>
                  </a:cubicBezTo>
                  <a:cubicBezTo>
                    <a:pt x="41" y="128"/>
                    <a:pt x="49" y="126"/>
                    <a:pt x="54" y="121"/>
                  </a:cubicBezTo>
                  <a:cubicBezTo>
                    <a:pt x="80" y="100"/>
                    <a:pt x="107" y="81"/>
                    <a:pt x="134" y="63"/>
                  </a:cubicBezTo>
                  <a:cubicBezTo>
                    <a:pt x="149" y="54"/>
                    <a:pt x="153" y="34"/>
                    <a:pt x="143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29" name="Freeform 16"/>
            <p:cNvSpPr>
              <a:spLocks noEditPoints="1"/>
            </p:cNvSpPr>
            <p:nvPr/>
          </p:nvSpPr>
          <p:spPr bwMode="auto">
            <a:xfrm>
              <a:off x="5087" y="3419"/>
              <a:ext cx="279" cy="406"/>
            </a:xfrm>
            <a:custGeom>
              <a:avLst/>
              <a:gdLst>
                <a:gd name="T0" fmla="*/ 599 w 676"/>
                <a:gd name="T1" fmla="*/ 191 h 985"/>
                <a:gd name="T2" fmla="*/ 578 w 676"/>
                <a:gd name="T3" fmla="*/ 172 h 985"/>
                <a:gd name="T4" fmla="*/ 551 w 676"/>
                <a:gd name="T5" fmla="*/ 177 h 985"/>
                <a:gd name="T6" fmla="*/ 366 w 676"/>
                <a:gd name="T7" fmla="*/ 365 h 985"/>
                <a:gd name="T8" fmla="*/ 379 w 676"/>
                <a:gd name="T9" fmla="*/ 480 h 985"/>
                <a:gd name="T10" fmla="*/ 413 w 676"/>
                <a:gd name="T11" fmla="*/ 521 h 985"/>
                <a:gd name="T12" fmla="*/ 305 w 676"/>
                <a:gd name="T13" fmla="*/ 589 h 985"/>
                <a:gd name="T14" fmla="*/ 271 w 676"/>
                <a:gd name="T15" fmla="*/ 489 h 985"/>
                <a:gd name="T16" fmla="*/ 236 w 676"/>
                <a:gd name="T17" fmla="*/ 390 h 985"/>
                <a:gd name="T18" fmla="*/ 290 w 676"/>
                <a:gd name="T19" fmla="*/ 359 h 985"/>
                <a:gd name="T20" fmla="*/ 340 w 676"/>
                <a:gd name="T21" fmla="*/ 255 h 985"/>
                <a:gd name="T22" fmla="*/ 226 w 676"/>
                <a:gd name="T23" fmla="*/ 17 h 985"/>
                <a:gd name="T24" fmla="*/ 177 w 676"/>
                <a:gd name="T25" fmla="*/ 14 h 985"/>
                <a:gd name="T26" fmla="*/ 39 w 676"/>
                <a:gd name="T27" fmla="*/ 240 h 985"/>
                <a:gd name="T28" fmla="*/ 172 w 676"/>
                <a:gd name="T29" fmla="*/ 397 h 985"/>
                <a:gd name="T30" fmla="*/ 211 w 676"/>
                <a:gd name="T31" fmla="*/ 511 h 985"/>
                <a:gd name="T32" fmla="*/ 269 w 676"/>
                <a:gd name="T33" fmla="*/ 715 h 985"/>
                <a:gd name="T34" fmla="*/ 5 w 676"/>
                <a:gd name="T35" fmla="*/ 941 h 985"/>
                <a:gd name="T36" fmla="*/ 28 w 676"/>
                <a:gd name="T37" fmla="*/ 980 h 985"/>
                <a:gd name="T38" fmla="*/ 66 w 676"/>
                <a:gd name="T39" fmla="*/ 957 h 985"/>
                <a:gd name="T40" fmla="*/ 298 w 676"/>
                <a:gd name="T41" fmla="*/ 777 h 985"/>
                <a:gd name="T42" fmla="*/ 530 w 676"/>
                <a:gd name="T43" fmla="*/ 957 h 985"/>
                <a:gd name="T44" fmla="*/ 570 w 676"/>
                <a:gd name="T45" fmla="*/ 980 h 985"/>
                <a:gd name="T46" fmla="*/ 592 w 676"/>
                <a:gd name="T47" fmla="*/ 941 h 985"/>
                <a:gd name="T48" fmla="*/ 333 w 676"/>
                <a:gd name="T49" fmla="*/ 716 h 985"/>
                <a:gd name="T50" fmla="*/ 322 w 676"/>
                <a:gd name="T51" fmla="*/ 651 h 985"/>
                <a:gd name="T52" fmla="*/ 471 w 676"/>
                <a:gd name="T53" fmla="*/ 552 h 985"/>
                <a:gd name="T54" fmla="*/ 636 w 676"/>
                <a:gd name="T55" fmla="*/ 491 h 985"/>
                <a:gd name="T56" fmla="*/ 656 w 676"/>
                <a:gd name="T57" fmla="*/ 448 h 985"/>
                <a:gd name="T58" fmla="*/ 599 w 676"/>
                <a:gd name="T59" fmla="*/ 191 h 985"/>
                <a:gd name="T60" fmla="*/ 220 w 676"/>
                <a:gd name="T61" fmla="*/ 206 h 985"/>
                <a:gd name="T62" fmla="*/ 192 w 676"/>
                <a:gd name="T63" fmla="*/ 170 h 985"/>
                <a:gd name="T64" fmla="*/ 157 w 676"/>
                <a:gd name="T65" fmla="*/ 198 h 985"/>
                <a:gd name="T66" fmla="*/ 158 w 676"/>
                <a:gd name="T67" fmla="*/ 328 h 985"/>
                <a:gd name="T68" fmla="*/ 102 w 676"/>
                <a:gd name="T69" fmla="*/ 243 h 985"/>
                <a:gd name="T70" fmla="*/ 198 w 676"/>
                <a:gd name="T71" fmla="*/ 88 h 985"/>
                <a:gd name="T72" fmla="*/ 276 w 676"/>
                <a:gd name="T73" fmla="*/ 252 h 985"/>
                <a:gd name="T74" fmla="*/ 222 w 676"/>
                <a:gd name="T75" fmla="*/ 328 h 985"/>
                <a:gd name="T76" fmla="*/ 220 w 676"/>
                <a:gd name="T77" fmla="*/ 206 h 985"/>
                <a:gd name="T78" fmla="*/ 594 w 676"/>
                <a:gd name="T79" fmla="*/ 431 h 985"/>
                <a:gd name="T80" fmla="*/ 553 w 676"/>
                <a:gd name="T81" fmla="*/ 483 h 985"/>
                <a:gd name="T82" fmla="*/ 515 w 676"/>
                <a:gd name="T83" fmla="*/ 493 h 985"/>
                <a:gd name="T84" fmla="*/ 531 w 676"/>
                <a:gd name="T85" fmla="*/ 462 h 985"/>
                <a:gd name="T86" fmla="*/ 560 w 676"/>
                <a:gd name="T87" fmla="*/ 336 h 985"/>
                <a:gd name="T88" fmla="*/ 526 w 676"/>
                <a:gd name="T89" fmla="*/ 306 h 985"/>
                <a:gd name="T90" fmla="*/ 496 w 676"/>
                <a:gd name="T91" fmla="*/ 339 h 985"/>
                <a:gd name="T92" fmla="*/ 453 w 676"/>
                <a:gd name="T93" fmla="*/ 472 h 985"/>
                <a:gd name="T94" fmla="*/ 435 w 676"/>
                <a:gd name="T95" fmla="*/ 449 h 985"/>
                <a:gd name="T96" fmla="*/ 427 w 676"/>
                <a:gd name="T97" fmla="*/ 383 h 985"/>
                <a:gd name="T98" fmla="*/ 555 w 676"/>
                <a:gd name="T99" fmla="*/ 253 h 985"/>
                <a:gd name="T100" fmla="*/ 594 w 676"/>
                <a:gd name="T101" fmla="*/ 431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76" h="984">
                  <a:moveTo>
                    <a:pt x="599" y="191"/>
                  </a:moveTo>
                  <a:cubicBezTo>
                    <a:pt x="595" y="182"/>
                    <a:pt x="587" y="175"/>
                    <a:pt x="578" y="172"/>
                  </a:cubicBezTo>
                  <a:cubicBezTo>
                    <a:pt x="569" y="170"/>
                    <a:pt x="559" y="171"/>
                    <a:pt x="551" y="177"/>
                  </a:cubicBezTo>
                  <a:cubicBezTo>
                    <a:pt x="524" y="196"/>
                    <a:pt x="386" y="295"/>
                    <a:pt x="366" y="365"/>
                  </a:cubicBezTo>
                  <a:cubicBezTo>
                    <a:pt x="355" y="404"/>
                    <a:pt x="360" y="444"/>
                    <a:pt x="379" y="480"/>
                  </a:cubicBezTo>
                  <a:cubicBezTo>
                    <a:pt x="388" y="495"/>
                    <a:pt x="399" y="509"/>
                    <a:pt x="413" y="521"/>
                  </a:cubicBezTo>
                  <a:cubicBezTo>
                    <a:pt x="386" y="546"/>
                    <a:pt x="351" y="570"/>
                    <a:pt x="305" y="589"/>
                  </a:cubicBezTo>
                  <a:cubicBezTo>
                    <a:pt x="295" y="554"/>
                    <a:pt x="282" y="521"/>
                    <a:pt x="271" y="489"/>
                  </a:cubicBezTo>
                  <a:cubicBezTo>
                    <a:pt x="258" y="455"/>
                    <a:pt x="246" y="423"/>
                    <a:pt x="236" y="390"/>
                  </a:cubicBezTo>
                  <a:cubicBezTo>
                    <a:pt x="256" y="384"/>
                    <a:pt x="274" y="373"/>
                    <a:pt x="290" y="359"/>
                  </a:cubicBezTo>
                  <a:cubicBezTo>
                    <a:pt x="320" y="332"/>
                    <a:pt x="337" y="295"/>
                    <a:pt x="340" y="255"/>
                  </a:cubicBezTo>
                  <a:cubicBezTo>
                    <a:pt x="343" y="182"/>
                    <a:pt x="246" y="44"/>
                    <a:pt x="226" y="17"/>
                  </a:cubicBezTo>
                  <a:cubicBezTo>
                    <a:pt x="214" y="1"/>
                    <a:pt x="190" y="0"/>
                    <a:pt x="177" y="14"/>
                  </a:cubicBezTo>
                  <a:cubicBezTo>
                    <a:pt x="154" y="39"/>
                    <a:pt x="43" y="167"/>
                    <a:pt x="39" y="240"/>
                  </a:cubicBezTo>
                  <a:cubicBezTo>
                    <a:pt x="35" y="319"/>
                    <a:pt x="94" y="388"/>
                    <a:pt x="172" y="397"/>
                  </a:cubicBezTo>
                  <a:cubicBezTo>
                    <a:pt x="183" y="436"/>
                    <a:pt x="197" y="473"/>
                    <a:pt x="211" y="511"/>
                  </a:cubicBezTo>
                  <a:cubicBezTo>
                    <a:pt x="234" y="574"/>
                    <a:pt x="258" y="638"/>
                    <a:pt x="269" y="715"/>
                  </a:cubicBezTo>
                  <a:cubicBezTo>
                    <a:pt x="143" y="728"/>
                    <a:pt x="37" y="817"/>
                    <a:pt x="5" y="941"/>
                  </a:cubicBezTo>
                  <a:cubicBezTo>
                    <a:pt x="0" y="958"/>
                    <a:pt x="11" y="976"/>
                    <a:pt x="28" y="980"/>
                  </a:cubicBezTo>
                  <a:cubicBezTo>
                    <a:pt x="45" y="984"/>
                    <a:pt x="62" y="974"/>
                    <a:pt x="66" y="957"/>
                  </a:cubicBezTo>
                  <a:cubicBezTo>
                    <a:pt x="94" y="851"/>
                    <a:pt x="189" y="777"/>
                    <a:pt x="298" y="777"/>
                  </a:cubicBezTo>
                  <a:cubicBezTo>
                    <a:pt x="408" y="777"/>
                    <a:pt x="503" y="851"/>
                    <a:pt x="530" y="957"/>
                  </a:cubicBezTo>
                  <a:cubicBezTo>
                    <a:pt x="535" y="974"/>
                    <a:pt x="553" y="985"/>
                    <a:pt x="570" y="980"/>
                  </a:cubicBezTo>
                  <a:cubicBezTo>
                    <a:pt x="586" y="975"/>
                    <a:pt x="596" y="958"/>
                    <a:pt x="592" y="941"/>
                  </a:cubicBezTo>
                  <a:cubicBezTo>
                    <a:pt x="560" y="819"/>
                    <a:pt x="456" y="730"/>
                    <a:pt x="333" y="716"/>
                  </a:cubicBezTo>
                  <a:cubicBezTo>
                    <a:pt x="330" y="693"/>
                    <a:pt x="326" y="671"/>
                    <a:pt x="322" y="651"/>
                  </a:cubicBezTo>
                  <a:cubicBezTo>
                    <a:pt x="389" y="624"/>
                    <a:pt x="437" y="588"/>
                    <a:pt x="471" y="552"/>
                  </a:cubicBezTo>
                  <a:cubicBezTo>
                    <a:pt x="533" y="569"/>
                    <a:pt x="600" y="544"/>
                    <a:pt x="636" y="491"/>
                  </a:cubicBezTo>
                  <a:cubicBezTo>
                    <a:pt x="645" y="478"/>
                    <a:pt x="651" y="463"/>
                    <a:pt x="656" y="448"/>
                  </a:cubicBezTo>
                  <a:cubicBezTo>
                    <a:pt x="676" y="378"/>
                    <a:pt x="612" y="221"/>
                    <a:pt x="599" y="191"/>
                  </a:cubicBezTo>
                  <a:close/>
                  <a:moveTo>
                    <a:pt x="220" y="206"/>
                  </a:moveTo>
                  <a:cubicBezTo>
                    <a:pt x="222" y="188"/>
                    <a:pt x="209" y="172"/>
                    <a:pt x="192" y="170"/>
                  </a:cubicBezTo>
                  <a:cubicBezTo>
                    <a:pt x="174" y="168"/>
                    <a:pt x="159" y="181"/>
                    <a:pt x="157" y="198"/>
                  </a:cubicBezTo>
                  <a:cubicBezTo>
                    <a:pt x="151" y="246"/>
                    <a:pt x="152" y="289"/>
                    <a:pt x="158" y="328"/>
                  </a:cubicBezTo>
                  <a:cubicBezTo>
                    <a:pt x="124" y="315"/>
                    <a:pt x="100" y="281"/>
                    <a:pt x="102" y="243"/>
                  </a:cubicBezTo>
                  <a:cubicBezTo>
                    <a:pt x="104" y="212"/>
                    <a:pt x="153" y="142"/>
                    <a:pt x="198" y="88"/>
                  </a:cubicBezTo>
                  <a:cubicBezTo>
                    <a:pt x="236" y="146"/>
                    <a:pt x="278" y="221"/>
                    <a:pt x="276" y="252"/>
                  </a:cubicBezTo>
                  <a:cubicBezTo>
                    <a:pt x="274" y="285"/>
                    <a:pt x="253" y="315"/>
                    <a:pt x="222" y="328"/>
                  </a:cubicBezTo>
                  <a:cubicBezTo>
                    <a:pt x="216" y="290"/>
                    <a:pt x="214" y="251"/>
                    <a:pt x="220" y="206"/>
                  </a:cubicBezTo>
                  <a:close/>
                  <a:moveTo>
                    <a:pt x="594" y="431"/>
                  </a:moveTo>
                  <a:cubicBezTo>
                    <a:pt x="588" y="453"/>
                    <a:pt x="573" y="472"/>
                    <a:pt x="553" y="483"/>
                  </a:cubicBezTo>
                  <a:cubicBezTo>
                    <a:pt x="541" y="489"/>
                    <a:pt x="528" y="493"/>
                    <a:pt x="515" y="493"/>
                  </a:cubicBezTo>
                  <a:cubicBezTo>
                    <a:pt x="522" y="483"/>
                    <a:pt x="527" y="472"/>
                    <a:pt x="531" y="462"/>
                  </a:cubicBezTo>
                  <a:cubicBezTo>
                    <a:pt x="562" y="395"/>
                    <a:pt x="560" y="339"/>
                    <a:pt x="560" y="336"/>
                  </a:cubicBezTo>
                  <a:cubicBezTo>
                    <a:pt x="559" y="319"/>
                    <a:pt x="544" y="305"/>
                    <a:pt x="526" y="306"/>
                  </a:cubicBezTo>
                  <a:cubicBezTo>
                    <a:pt x="509" y="307"/>
                    <a:pt x="495" y="322"/>
                    <a:pt x="496" y="339"/>
                  </a:cubicBezTo>
                  <a:cubicBezTo>
                    <a:pt x="496" y="340"/>
                    <a:pt x="498" y="404"/>
                    <a:pt x="453" y="472"/>
                  </a:cubicBezTo>
                  <a:cubicBezTo>
                    <a:pt x="446" y="465"/>
                    <a:pt x="440" y="458"/>
                    <a:pt x="435" y="449"/>
                  </a:cubicBezTo>
                  <a:cubicBezTo>
                    <a:pt x="424" y="428"/>
                    <a:pt x="421" y="405"/>
                    <a:pt x="427" y="383"/>
                  </a:cubicBezTo>
                  <a:cubicBezTo>
                    <a:pt x="436" y="353"/>
                    <a:pt x="499" y="296"/>
                    <a:pt x="555" y="253"/>
                  </a:cubicBezTo>
                  <a:cubicBezTo>
                    <a:pt x="580" y="319"/>
                    <a:pt x="603" y="401"/>
                    <a:pt x="594" y="4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</p:grpSp>
      <p:sp>
        <p:nvSpPr>
          <p:cNvPr id="30" name="TextBox 3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8651966" y="4756333"/>
            <a:ext cx="8883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  <a:cs typeface="等线" panose="02010600030101010101" charset="-122"/>
              </a:rPr>
              <a:t>Watering</a:t>
            </a:r>
          </a:p>
        </p:txBody>
      </p:sp>
      <p:sp>
        <p:nvSpPr>
          <p:cNvPr id="31" name="Rounded Rectangle 4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116534" y="3799395"/>
            <a:ext cx="1448047" cy="1402773"/>
          </a:xfrm>
          <a:prstGeom prst="roundRect">
            <a:avLst/>
          </a:prstGeom>
          <a:solidFill>
            <a:schemeClr val="accent2">
              <a:lumMod val="20000"/>
              <a:lumOff val="80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grpSp>
        <p:nvGrpSpPr>
          <p:cNvPr id="32" name="Group 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>
            <a:grpSpLocks noChangeAspect="1"/>
          </p:cNvGrpSpPr>
          <p:nvPr/>
        </p:nvGrpSpPr>
        <p:grpSpPr>
          <a:xfrm>
            <a:off x="10586992" y="4014784"/>
            <a:ext cx="507130" cy="592749"/>
            <a:chOff x="6226" y="2835"/>
            <a:chExt cx="847" cy="990"/>
          </a:xfrm>
          <a:solidFill>
            <a:schemeClr val="bg1"/>
          </a:solidFill>
        </p:grpSpPr>
        <p:sp>
          <p:nvSpPr>
            <p:cNvPr id="33" name="Freeform 20"/>
            <p:cNvSpPr>
              <a:spLocks noEditPoints="1"/>
            </p:cNvSpPr>
            <p:nvPr/>
          </p:nvSpPr>
          <p:spPr bwMode="auto">
            <a:xfrm>
              <a:off x="6226" y="2835"/>
              <a:ext cx="847" cy="990"/>
            </a:xfrm>
            <a:custGeom>
              <a:avLst/>
              <a:gdLst>
                <a:gd name="T0" fmla="*/ 1715 w 1746"/>
                <a:gd name="T1" fmla="*/ 356 h 2050"/>
                <a:gd name="T2" fmla="*/ 895 w 1746"/>
                <a:gd name="T3" fmla="*/ 8 h 2050"/>
                <a:gd name="T4" fmla="*/ 851 w 1746"/>
                <a:gd name="T5" fmla="*/ 8 h 2050"/>
                <a:gd name="T6" fmla="*/ 31 w 1746"/>
                <a:gd name="T7" fmla="*/ 356 h 2050"/>
                <a:gd name="T8" fmla="*/ 0 w 1746"/>
                <a:gd name="T9" fmla="*/ 397 h 2050"/>
                <a:gd name="T10" fmla="*/ 0 w 1746"/>
                <a:gd name="T11" fmla="*/ 837 h 2050"/>
                <a:gd name="T12" fmla="*/ 384 w 1746"/>
                <a:gd name="T13" fmla="*/ 1763 h 2050"/>
                <a:gd name="T14" fmla="*/ 873 w 1746"/>
                <a:gd name="T15" fmla="*/ 2050 h 2050"/>
                <a:gd name="T16" fmla="*/ 1362 w 1746"/>
                <a:gd name="T17" fmla="*/ 1763 h 2050"/>
                <a:gd name="T18" fmla="*/ 1746 w 1746"/>
                <a:gd name="T19" fmla="*/ 837 h 2050"/>
                <a:gd name="T20" fmla="*/ 1746 w 1746"/>
                <a:gd name="T21" fmla="*/ 397 h 2050"/>
                <a:gd name="T22" fmla="*/ 1715 w 1746"/>
                <a:gd name="T23" fmla="*/ 356 h 2050"/>
                <a:gd name="T24" fmla="*/ 1660 w 1746"/>
                <a:gd name="T25" fmla="*/ 837 h 2050"/>
                <a:gd name="T26" fmla="*/ 1301 w 1746"/>
                <a:gd name="T27" fmla="*/ 1701 h 2050"/>
                <a:gd name="T28" fmla="*/ 873 w 1746"/>
                <a:gd name="T29" fmla="*/ 1964 h 2050"/>
                <a:gd name="T30" fmla="*/ 445 w 1746"/>
                <a:gd name="T31" fmla="*/ 1701 h 2050"/>
                <a:gd name="T32" fmla="*/ 86 w 1746"/>
                <a:gd name="T33" fmla="*/ 837 h 2050"/>
                <a:gd name="T34" fmla="*/ 86 w 1746"/>
                <a:gd name="T35" fmla="*/ 430 h 2050"/>
                <a:gd name="T36" fmla="*/ 873 w 1746"/>
                <a:gd name="T37" fmla="*/ 95 h 2050"/>
                <a:gd name="T38" fmla="*/ 1660 w 1746"/>
                <a:gd name="T39" fmla="*/ 430 h 2050"/>
                <a:gd name="T40" fmla="*/ 1660 w 1746"/>
                <a:gd name="T41" fmla="*/ 837 h 2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46" h="2050">
                  <a:moveTo>
                    <a:pt x="1715" y="356"/>
                  </a:moveTo>
                  <a:cubicBezTo>
                    <a:pt x="1433" y="278"/>
                    <a:pt x="1149" y="158"/>
                    <a:pt x="895" y="8"/>
                  </a:cubicBezTo>
                  <a:cubicBezTo>
                    <a:pt x="881" y="0"/>
                    <a:pt x="865" y="0"/>
                    <a:pt x="851" y="8"/>
                  </a:cubicBezTo>
                  <a:cubicBezTo>
                    <a:pt x="589" y="163"/>
                    <a:pt x="321" y="276"/>
                    <a:pt x="31" y="356"/>
                  </a:cubicBezTo>
                  <a:cubicBezTo>
                    <a:pt x="13" y="361"/>
                    <a:pt x="0" y="378"/>
                    <a:pt x="0" y="397"/>
                  </a:cubicBezTo>
                  <a:cubicBezTo>
                    <a:pt x="0" y="837"/>
                    <a:pt x="0" y="837"/>
                    <a:pt x="0" y="837"/>
                  </a:cubicBezTo>
                  <a:cubicBezTo>
                    <a:pt x="0" y="1291"/>
                    <a:pt x="209" y="1591"/>
                    <a:pt x="384" y="1763"/>
                  </a:cubicBezTo>
                  <a:cubicBezTo>
                    <a:pt x="573" y="1948"/>
                    <a:pt x="793" y="2050"/>
                    <a:pt x="873" y="2050"/>
                  </a:cubicBezTo>
                  <a:cubicBezTo>
                    <a:pt x="953" y="2050"/>
                    <a:pt x="1173" y="1948"/>
                    <a:pt x="1362" y="1763"/>
                  </a:cubicBezTo>
                  <a:cubicBezTo>
                    <a:pt x="1537" y="1591"/>
                    <a:pt x="1746" y="1291"/>
                    <a:pt x="1746" y="837"/>
                  </a:cubicBezTo>
                  <a:cubicBezTo>
                    <a:pt x="1746" y="397"/>
                    <a:pt x="1746" y="397"/>
                    <a:pt x="1746" y="397"/>
                  </a:cubicBezTo>
                  <a:cubicBezTo>
                    <a:pt x="1746" y="378"/>
                    <a:pt x="1733" y="361"/>
                    <a:pt x="1715" y="356"/>
                  </a:cubicBezTo>
                  <a:close/>
                  <a:moveTo>
                    <a:pt x="1660" y="837"/>
                  </a:moveTo>
                  <a:cubicBezTo>
                    <a:pt x="1660" y="1261"/>
                    <a:pt x="1465" y="1541"/>
                    <a:pt x="1301" y="1701"/>
                  </a:cubicBezTo>
                  <a:cubicBezTo>
                    <a:pt x="1116" y="1883"/>
                    <a:pt x="917" y="1964"/>
                    <a:pt x="873" y="1964"/>
                  </a:cubicBezTo>
                  <a:cubicBezTo>
                    <a:pt x="829" y="1964"/>
                    <a:pt x="630" y="1883"/>
                    <a:pt x="445" y="1701"/>
                  </a:cubicBezTo>
                  <a:cubicBezTo>
                    <a:pt x="281" y="1541"/>
                    <a:pt x="86" y="1261"/>
                    <a:pt x="86" y="837"/>
                  </a:cubicBezTo>
                  <a:cubicBezTo>
                    <a:pt x="86" y="430"/>
                    <a:pt x="86" y="430"/>
                    <a:pt x="86" y="430"/>
                  </a:cubicBezTo>
                  <a:cubicBezTo>
                    <a:pt x="363" y="351"/>
                    <a:pt x="621" y="241"/>
                    <a:pt x="873" y="95"/>
                  </a:cubicBezTo>
                  <a:cubicBezTo>
                    <a:pt x="1119" y="238"/>
                    <a:pt x="1390" y="353"/>
                    <a:pt x="1660" y="430"/>
                  </a:cubicBezTo>
                  <a:lnTo>
                    <a:pt x="1660" y="8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34" name="Freeform 21"/>
            <p:cNvSpPr/>
            <p:nvPr/>
          </p:nvSpPr>
          <p:spPr bwMode="auto">
            <a:xfrm>
              <a:off x="6309" y="3024"/>
              <a:ext cx="160" cy="165"/>
            </a:xfrm>
            <a:custGeom>
              <a:avLst/>
              <a:gdLst>
                <a:gd name="T0" fmla="*/ 321 w 330"/>
                <a:gd name="T1" fmla="*/ 33 h 342"/>
                <a:gd name="T2" fmla="*/ 265 w 330"/>
                <a:gd name="T3" fmla="*/ 9 h 342"/>
                <a:gd name="T4" fmla="*/ 30 w 330"/>
                <a:gd name="T5" fmla="*/ 92 h 342"/>
                <a:gd name="T6" fmla="*/ 0 w 330"/>
                <a:gd name="T7" fmla="*/ 133 h 342"/>
                <a:gd name="T8" fmla="*/ 0 w 330"/>
                <a:gd name="T9" fmla="*/ 299 h 342"/>
                <a:gd name="T10" fmla="*/ 43 w 330"/>
                <a:gd name="T11" fmla="*/ 342 h 342"/>
                <a:gd name="T12" fmla="*/ 86 w 330"/>
                <a:gd name="T13" fmla="*/ 299 h 342"/>
                <a:gd name="T14" fmla="*/ 86 w 330"/>
                <a:gd name="T15" fmla="*/ 164 h 342"/>
                <a:gd name="T16" fmla="*/ 297 w 330"/>
                <a:gd name="T17" fmla="*/ 89 h 342"/>
                <a:gd name="T18" fmla="*/ 321 w 330"/>
                <a:gd name="T19" fmla="*/ 3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0" h="342">
                  <a:moveTo>
                    <a:pt x="321" y="33"/>
                  </a:moveTo>
                  <a:cubicBezTo>
                    <a:pt x="312" y="11"/>
                    <a:pt x="287" y="0"/>
                    <a:pt x="265" y="9"/>
                  </a:cubicBezTo>
                  <a:cubicBezTo>
                    <a:pt x="188" y="39"/>
                    <a:pt x="109" y="67"/>
                    <a:pt x="30" y="92"/>
                  </a:cubicBezTo>
                  <a:cubicBezTo>
                    <a:pt x="13" y="97"/>
                    <a:pt x="0" y="114"/>
                    <a:pt x="0" y="133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323"/>
                    <a:pt x="20" y="342"/>
                    <a:pt x="43" y="342"/>
                  </a:cubicBezTo>
                  <a:cubicBezTo>
                    <a:pt x="67" y="342"/>
                    <a:pt x="86" y="323"/>
                    <a:pt x="86" y="299"/>
                  </a:cubicBezTo>
                  <a:cubicBezTo>
                    <a:pt x="86" y="164"/>
                    <a:pt x="86" y="164"/>
                    <a:pt x="86" y="164"/>
                  </a:cubicBezTo>
                  <a:cubicBezTo>
                    <a:pt x="157" y="141"/>
                    <a:pt x="228" y="116"/>
                    <a:pt x="297" y="89"/>
                  </a:cubicBezTo>
                  <a:cubicBezTo>
                    <a:pt x="319" y="80"/>
                    <a:pt x="330" y="55"/>
                    <a:pt x="32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35" name="Freeform 22"/>
            <p:cNvSpPr/>
            <p:nvPr/>
          </p:nvSpPr>
          <p:spPr bwMode="auto">
            <a:xfrm>
              <a:off x="6480" y="2999"/>
              <a:ext cx="48" cy="45"/>
            </a:xfrm>
            <a:custGeom>
              <a:avLst/>
              <a:gdLst>
                <a:gd name="T0" fmla="*/ 49 w 99"/>
                <a:gd name="T1" fmla="*/ 92 h 92"/>
                <a:gd name="T2" fmla="*/ 66 w 99"/>
                <a:gd name="T3" fmla="*/ 89 h 92"/>
                <a:gd name="T4" fmla="*/ 67 w 99"/>
                <a:gd name="T5" fmla="*/ 88 h 92"/>
                <a:gd name="T6" fmla="*/ 89 w 99"/>
                <a:gd name="T7" fmla="*/ 32 h 92"/>
                <a:gd name="T8" fmla="*/ 32 w 99"/>
                <a:gd name="T9" fmla="*/ 9 h 92"/>
                <a:gd name="T10" fmla="*/ 32 w 99"/>
                <a:gd name="T11" fmla="*/ 10 h 92"/>
                <a:gd name="T12" fmla="*/ 9 w 99"/>
                <a:gd name="T13" fmla="*/ 66 h 92"/>
                <a:gd name="T14" fmla="*/ 49 w 99"/>
                <a:gd name="T15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9" h="92">
                  <a:moveTo>
                    <a:pt x="49" y="92"/>
                  </a:moveTo>
                  <a:cubicBezTo>
                    <a:pt x="55" y="92"/>
                    <a:pt x="61" y="91"/>
                    <a:pt x="66" y="89"/>
                  </a:cubicBezTo>
                  <a:cubicBezTo>
                    <a:pt x="67" y="88"/>
                    <a:pt x="67" y="88"/>
                    <a:pt x="67" y="88"/>
                  </a:cubicBezTo>
                  <a:cubicBezTo>
                    <a:pt x="89" y="79"/>
                    <a:pt x="99" y="53"/>
                    <a:pt x="89" y="32"/>
                  </a:cubicBezTo>
                  <a:cubicBezTo>
                    <a:pt x="80" y="10"/>
                    <a:pt x="54" y="0"/>
                    <a:pt x="32" y="9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10" y="19"/>
                    <a:pt x="0" y="45"/>
                    <a:pt x="9" y="66"/>
                  </a:cubicBezTo>
                  <a:cubicBezTo>
                    <a:pt x="17" y="83"/>
                    <a:pt x="32" y="92"/>
                    <a:pt x="49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36" name="Freeform 23"/>
            <p:cNvSpPr/>
            <p:nvPr/>
          </p:nvSpPr>
          <p:spPr bwMode="auto">
            <a:xfrm>
              <a:off x="6739" y="3500"/>
              <a:ext cx="172" cy="178"/>
            </a:xfrm>
            <a:custGeom>
              <a:avLst/>
              <a:gdLst>
                <a:gd name="T0" fmla="*/ 329 w 355"/>
                <a:gd name="T1" fmla="*/ 13 h 368"/>
                <a:gd name="T2" fmla="*/ 270 w 355"/>
                <a:gd name="T3" fmla="*/ 26 h 368"/>
                <a:gd name="T4" fmla="*/ 146 w 355"/>
                <a:gd name="T5" fmla="*/ 180 h 368"/>
                <a:gd name="T6" fmla="*/ 22 w 355"/>
                <a:gd name="T7" fmla="*/ 290 h 368"/>
                <a:gd name="T8" fmla="*/ 14 w 355"/>
                <a:gd name="T9" fmla="*/ 351 h 368"/>
                <a:gd name="T10" fmla="*/ 48 w 355"/>
                <a:gd name="T11" fmla="*/ 368 h 368"/>
                <a:gd name="T12" fmla="*/ 75 w 355"/>
                <a:gd name="T13" fmla="*/ 359 h 368"/>
                <a:gd name="T14" fmla="*/ 208 w 355"/>
                <a:gd name="T15" fmla="*/ 240 h 368"/>
                <a:gd name="T16" fmla="*/ 342 w 355"/>
                <a:gd name="T17" fmla="*/ 73 h 368"/>
                <a:gd name="T18" fmla="*/ 329 w 355"/>
                <a:gd name="T19" fmla="*/ 13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55" h="368">
                  <a:moveTo>
                    <a:pt x="329" y="13"/>
                  </a:moveTo>
                  <a:cubicBezTo>
                    <a:pt x="309" y="0"/>
                    <a:pt x="283" y="6"/>
                    <a:pt x="270" y="26"/>
                  </a:cubicBezTo>
                  <a:cubicBezTo>
                    <a:pt x="234" y="80"/>
                    <a:pt x="193" y="132"/>
                    <a:pt x="146" y="180"/>
                  </a:cubicBezTo>
                  <a:cubicBezTo>
                    <a:pt x="107" y="220"/>
                    <a:pt x="66" y="257"/>
                    <a:pt x="22" y="290"/>
                  </a:cubicBezTo>
                  <a:cubicBezTo>
                    <a:pt x="3" y="305"/>
                    <a:pt x="0" y="332"/>
                    <a:pt x="14" y="351"/>
                  </a:cubicBezTo>
                  <a:cubicBezTo>
                    <a:pt x="23" y="362"/>
                    <a:pt x="35" y="368"/>
                    <a:pt x="48" y="368"/>
                  </a:cubicBezTo>
                  <a:cubicBezTo>
                    <a:pt x="58" y="368"/>
                    <a:pt x="67" y="365"/>
                    <a:pt x="75" y="359"/>
                  </a:cubicBezTo>
                  <a:cubicBezTo>
                    <a:pt x="122" y="323"/>
                    <a:pt x="166" y="283"/>
                    <a:pt x="208" y="240"/>
                  </a:cubicBezTo>
                  <a:cubicBezTo>
                    <a:pt x="258" y="188"/>
                    <a:pt x="303" y="132"/>
                    <a:pt x="342" y="73"/>
                  </a:cubicBezTo>
                  <a:cubicBezTo>
                    <a:pt x="355" y="53"/>
                    <a:pt x="349" y="26"/>
                    <a:pt x="329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37" name="Freeform 24"/>
            <p:cNvSpPr/>
            <p:nvPr/>
          </p:nvSpPr>
          <p:spPr bwMode="auto">
            <a:xfrm>
              <a:off x="6686" y="3668"/>
              <a:ext cx="49" cy="45"/>
            </a:xfrm>
            <a:custGeom>
              <a:avLst/>
              <a:gdLst>
                <a:gd name="T0" fmla="*/ 30 w 101"/>
                <a:gd name="T1" fmla="*/ 12 h 94"/>
                <a:gd name="T2" fmla="*/ 28 w 101"/>
                <a:gd name="T3" fmla="*/ 13 h 94"/>
                <a:gd name="T4" fmla="*/ 12 w 101"/>
                <a:gd name="T5" fmla="*/ 72 h 94"/>
                <a:gd name="T6" fmla="*/ 49 w 101"/>
                <a:gd name="T7" fmla="*/ 94 h 94"/>
                <a:gd name="T8" fmla="*/ 71 w 101"/>
                <a:gd name="T9" fmla="*/ 88 h 94"/>
                <a:gd name="T10" fmla="*/ 74 w 101"/>
                <a:gd name="T11" fmla="*/ 86 h 94"/>
                <a:gd name="T12" fmla="*/ 89 w 101"/>
                <a:gd name="T13" fmla="*/ 27 h 94"/>
                <a:gd name="T14" fmla="*/ 30 w 101"/>
                <a:gd name="T15" fmla="*/ 12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0" h="94">
                  <a:moveTo>
                    <a:pt x="30" y="12"/>
                  </a:moveTo>
                  <a:cubicBezTo>
                    <a:pt x="28" y="13"/>
                    <a:pt x="28" y="13"/>
                    <a:pt x="28" y="13"/>
                  </a:cubicBezTo>
                  <a:cubicBezTo>
                    <a:pt x="7" y="25"/>
                    <a:pt x="0" y="52"/>
                    <a:pt x="12" y="72"/>
                  </a:cubicBezTo>
                  <a:cubicBezTo>
                    <a:pt x="20" y="86"/>
                    <a:pt x="35" y="94"/>
                    <a:pt x="49" y="94"/>
                  </a:cubicBezTo>
                  <a:cubicBezTo>
                    <a:pt x="57" y="94"/>
                    <a:pt x="64" y="92"/>
                    <a:pt x="71" y="88"/>
                  </a:cubicBezTo>
                  <a:cubicBezTo>
                    <a:pt x="74" y="86"/>
                    <a:pt x="74" y="86"/>
                    <a:pt x="74" y="86"/>
                  </a:cubicBezTo>
                  <a:cubicBezTo>
                    <a:pt x="94" y="74"/>
                    <a:pt x="101" y="48"/>
                    <a:pt x="89" y="27"/>
                  </a:cubicBezTo>
                  <a:cubicBezTo>
                    <a:pt x="77" y="7"/>
                    <a:pt x="51" y="0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  <p:sp>
          <p:nvSpPr>
            <p:cNvPr id="38" name="Freeform 25"/>
            <p:cNvSpPr>
              <a:spLocks noEditPoints="1"/>
            </p:cNvSpPr>
            <p:nvPr/>
          </p:nvSpPr>
          <p:spPr bwMode="auto">
            <a:xfrm>
              <a:off x="6385" y="3134"/>
              <a:ext cx="529" cy="392"/>
            </a:xfrm>
            <a:custGeom>
              <a:avLst/>
              <a:gdLst>
                <a:gd name="T0" fmla="*/ 252 w 1092"/>
                <a:gd name="T1" fmla="*/ 318 h 812"/>
                <a:gd name="T2" fmla="*/ 153 w 1092"/>
                <a:gd name="T3" fmla="*/ 277 h 812"/>
                <a:gd name="T4" fmla="*/ 54 w 1092"/>
                <a:gd name="T5" fmla="*/ 318 h 812"/>
                <a:gd name="T6" fmla="*/ 54 w 1092"/>
                <a:gd name="T7" fmla="*/ 516 h 812"/>
                <a:gd name="T8" fmla="*/ 309 w 1092"/>
                <a:gd name="T9" fmla="*/ 771 h 812"/>
                <a:gd name="T10" fmla="*/ 408 w 1092"/>
                <a:gd name="T11" fmla="*/ 812 h 812"/>
                <a:gd name="T12" fmla="*/ 507 w 1092"/>
                <a:gd name="T13" fmla="*/ 771 h 812"/>
                <a:gd name="T14" fmla="*/ 1038 w 1092"/>
                <a:gd name="T15" fmla="*/ 240 h 812"/>
                <a:gd name="T16" fmla="*/ 1038 w 1092"/>
                <a:gd name="T17" fmla="*/ 41 h 812"/>
                <a:gd name="T18" fmla="*/ 939 w 1092"/>
                <a:gd name="T19" fmla="*/ 0 h 812"/>
                <a:gd name="T20" fmla="*/ 840 w 1092"/>
                <a:gd name="T21" fmla="*/ 41 h 812"/>
                <a:gd name="T22" fmla="*/ 408 w 1092"/>
                <a:gd name="T23" fmla="*/ 473 h 812"/>
                <a:gd name="T24" fmla="*/ 252 w 1092"/>
                <a:gd name="T25" fmla="*/ 318 h 812"/>
                <a:gd name="T26" fmla="*/ 901 w 1092"/>
                <a:gd name="T27" fmla="*/ 102 h 812"/>
                <a:gd name="T28" fmla="*/ 939 w 1092"/>
                <a:gd name="T29" fmla="*/ 87 h 812"/>
                <a:gd name="T30" fmla="*/ 977 w 1092"/>
                <a:gd name="T31" fmla="*/ 102 h 812"/>
                <a:gd name="T32" fmla="*/ 977 w 1092"/>
                <a:gd name="T33" fmla="*/ 179 h 812"/>
                <a:gd name="T34" fmla="*/ 446 w 1092"/>
                <a:gd name="T35" fmla="*/ 710 h 812"/>
                <a:gd name="T36" fmla="*/ 408 w 1092"/>
                <a:gd name="T37" fmla="*/ 725 h 812"/>
                <a:gd name="T38" fmla="*/ 370 w 1092"/>
                <a:gd name="T39" fmla="*/ 710 h 812"/>
                <a:gd name="T40" fmla="*/ 115 w 1092"/>
                <a:gd name="T41" fmla="*/ 455 h 812"/>
                <a:gd name="T42" fmla="*/ 115 w 1092"/>
                <a:gd name="T43" fmla="*/ 379 h 812"/>
                <a:gd name="T44" fmla="*/ 153 w 1092"/>
                <a:gd name="T45" fmla="*/ 363 h 812"/>
                <a:gd name="T46" fmla="*/ 191 w 1092"/>
                <a:gd name="T47" fmla="*/ 379 h 812"/>
                <a:gd name="T48" fmla="*/ 377 w 1092"/>
                <a:gd name="T49" fmla="*/ 565 h 812"/>
                <a:gd name="T50" fmla="*/ 408 w 1092"/>
                <a:gd name="T51" fmla="*/ 577 h 812"/>
                <a:gd name="T52" fmla="*/ 438 w 1092"/>
                <a:gd name="T53" fmla="*/ 565 h 812"/>
                <a:gd name="T54" fmla="*/ 901 w 1092"/>
                <a:gd name="T55" fmla="*/ 102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92" h="812">
                  <a:moveTo>
                    <a:pt x="252" y="318"/>
                  </a:moveTo>
                  <a:cubicBezTo>
                    <a:pt x="226" y="292"/>
                    <a:pt x="191" y="277"/>
                    <a:pt x="153" y="277"/>
                  </a:cubicBezTo>
                  <a:cubicBezTo>
                    <a:pt x="116" y="277"/>
                    <a:pt x="81" y="292"/>
                    <a:pt x="54" y="318"/>
                  </a:cubicBezTo>
                  <a:cubicBezTo>
                    <a:pt x="0" y="373"/>
                    <a:pt x="0" y="462"/>
                    <a:pt x="54" y="516"/>
                  </a:cubicBezTo>
                  <a:cubicBezTo>
                    <a:pt x="309" y="771"/>
                    <a:pt x="309" y="771"/>
                    <a:pt x="309" y="771"/>
                  </a:cubicBezTo>
                  <a:cubicBezTo>
                    <a:pt x="335" y="797"/>
                    <a:pt x="370" y="812"/>
                    <a:pt x="408" y="812"/>
                  </a:cubicBezTo>
                  <a:cubicBezTo>
                    <a:pt x="445" y="812"/>
                    <a:pt x="480" y="797"/>
                    <a:pt x="507" y="771"/>
                  </a:cubicBezTo>
                  <a:cubicBezTo>
                    <a:pt x="1038" y="240"/>
                    <a:pt x="1038" y="240"/>
                    <a:pt x="1038" y="240"/>
                  </a:cubicBezTo>
                  <a:cubicBezTo>
                    <a:pt x="1092" y="185"/>
                    <a:pt x="1092" y="96"/>
                    <a:pt x="1038" y="41"/>
                  </a:cubicBezTo>
                  <a:cubicBezTo>
                    <a:pt x="1011" y="15"/>
                    <a:pt x="976" y="0"/>
                    <a:pt x="939" y="0"/>
                  </a:cubicBezTo>
                  <a:cubicBezTo>
                    <a:pt x="901" y="0"/>
                    <a:pt x="866" y="15"/>
                    <a:pt x="840" y="41"/>
                  </a:cubicBezTo>
                  <a:cubicBezTo>
                    <a:pt x="408" y="473"/>
                    <a:pt x="408" y="473"/>
                    <a:pt x="408" y="473"/>
                  </a:cubicBezTo>
                  <a:lnTo>
                    <a:pt x="252" y="318"/>
                  </a:lnTo>
                  <a:close/>
                  <a:moveTo>
                    <a:pt x="901" y="102"/>
                  </a:moveTo>
                  <a:cubicBezTo>
                    <a:pt x="911" y="92"/>
                    <a:pt x="924" y="87"/>
                    <a:pt x="939" y="87"/>
                  </a:cubicBezTo>
                  <a:cubicBezTo>
                    <a:pt x="953" y="87"/>
                    <a:pt x="967" y="92"/>
                    <a:pt x="977" y="102"/>
                  </a:cubicBezTo>
                  <a:cubicBezTo>
                    <a:pt x="998" y="123"/>
                    <a:pt x="998" y="158"/>
                    <a:pt x="977" y="179"/>
                  </a:cubicBezTo>
                  <a:cubicBezTo>
                    <a:pt x="446" y="710"/>
                    <a:pt x="446" y="710"/>
                    <a:pt x="446" y="710"/>
                  </a:cubicBezTo>
                  <a:cubicBezTo>
                    <a:pt x="436" y="720"/>
                    <a:pt x="422" y="725"/>
                    <a:pt x="408" y="725"/>
                  </a:cubicBezTo>
                  <a:cubicBezTo>
                    <a:pt x="393" y="725"/>
                    <a:pt x="380" y="720"/>
                    <a:pt x="370" y="710"/>
                  </a:cubicBezTo>
                  <a:cubicBezTo>
                    <a:pt x="115" y="455"/>
                    <a:pt x="115" y="455"/>
                    <a:pt x="115" y="455"/>
                  </a:cubicBezTo>
                  <a:cubicBezTo>
                    <a:pt x="94" y="434"/>
                    <a:pt x="94" y="400"/>
                    <a:pt x="115" y="379"/>
                  </a:cubicBezTo>
                  <a:cubicBezTo>
                    <a:pt x="125" y="369"/>
                    <a:pt x="139" y="363"/>
                    <a:pt x="153" y="363"/>
                  </a:cubicBezTo>
                  <a:cubicBezTo>
                    <a:pt x="168" y="363"/>
                    <a:pt x="181" y="369"/>
                    <a:pt x="191" y="379"/>
                  </a:cubicBezTo>
                  <a:cubicBezTo>
                    <a:pt x="377" y="565"/>
                    <a:pt x="377" y="565"/>
                    <a:pt x="377" y="565"/>
                  </a:cubicBezTo>
                  <a:cubicBezTo>
                    <a:pt x="385" y="573"/>
                    <a:pt x="396" y="577"/>
                    <a:pt x="408" y="577"/>
                  </a:cubicBezTo>
                  <a:cubicBezTo>
                    <a:pt x="419" y="577"/>
                    <a:pt x="430" y="573"/>
                    <a:pt x="438" y="565"/>
                  </a:cubicBezTo>
                  <a:lnTo>
                    <a:pt x="901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solidFill>
                  <a:schemeClr val="bg1"/>
                </a:solidFill>
                <a:cs typeface="等线" panose="02010600030101010101" charset="-122"/>
              </a:endParaRPr>
            </a:p>
          </p:txBody>
        </p:sp>
      </p:grpSp>
      <p:sp>
        <p:nvSpPr>
          <p:cNvPr id="39" name="TextBox 3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0349878" y="4756333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+mj-lt"/>
                <a:cs typeface="等线" panose="02010600030101010101" charset="-122"/>
              </a:rPr>
              <a:t>Protecting</a:t>
            </a:r>
          </a:p>
        </p:txBody>
      </p:sp>
      <p:sp>
        <p:nvSpPr>
          <p:cNvPr id="40" name="Rectangle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666201" y="5638193"/>
            <a:ext cx="5525799" cy="3356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200" dirty="0">
                <a:solidFill>
                  <a:schemeClr val="bg1"/>
                </a:solidFill>
                <a:cs typeface="等线" panose="02010600030101010101" charset="-122"/>
              </a:rPr>
              <a:t>Ut </a:t>
            </a:r>
            <a:r>
              <a:rPr lang="en-US" sz="1200" dirty="0" err="1">
                <a:solidFill>
                  <a:schemeClr val="bg1"/>
                </a:solidFill>
                <a:cs typeface="等线" panose="02010600030101010101" charset="-122"/>
              </a:rPr>
              <a:t>enim</a:t>
            </a:r>
            <a:r>
              <a:rPr lang="en-US" sz="1200" dirty="0">
                <a:solidFill>
                  <a:schemeClr val="bg1"/>
                </a:solidFill>
                <a:cs typeface="等线" panose="02010600030101010101" charset="-122"/>
              </a:rPr>
              <a:t> ad minim </a:t>
            </a:r>
            <a:r>
              <a:rPr lang="en-US" sz="1200" dirty="0" err="1">
                <a:solidFill>
                  <a:schemeClr val="bg1"/>
                </a:solidFill>
                <a:cs typeface="等线" panose="02010600030101010101" charset="-122"/>
              </a:rPr>
              <a:t>veniam</a:t>
            </a:r>
            <a:r>
              <a:rPr lang="en-US" sz="1200" dirty="0">
                <a:solidFill>
                  <a:schemeClr val="bg1"/>
                </a:solidFill>
                <a:cs typeface="等线" panose="02010600030101010101" charset="-122"/>
              </a:rPr>
              <a:t>, </a:t>
            </a:r>
            <a:r>
              <a:rPr lang="en-US" sz="1200" dirty="0" err="1">
                <a:solidFill>
                  <a:schemeClr val="bg1"/>
                </a:solidFill>
                <a:cs typeface="等线" panose="02010600030101010101" charset="-122"/>
              </a:rPr>
              <a:t>quis</a:t>
            </a:r>
            <a:r>
              <a:rPr lang="en-US" sz="1200" dirty="0">
                <a:solidFill>
                  <a:schemeClr val="bg1"/>
                </a:solidFill>
                <a:cs typeface="等线" panose="02010600030101010101" charset="-122"/>
              </a:rPr>
              <a:t> </a:t>
            </a:r>
            <a:r>
              <a:rPr lang="en-US" sz="1200" dirty="0" err="1">
                <a:solidFill>
                  <a:schemeClr val="bg1"/>
                </a:solidFill>
                <a:cs typeface="等线" panose="02010600030101010101" charset="-122"/>
              </a:rPr>
              <a:t>nostrud</a:t>
            </a:r>
            <a:r>
              <a:rPr lang="en-US" sz="1200" dirty="0">
                <a:solidFill>
                  <a:schemeClr val="bg1"/>
                </a:solidFill>
                <a:cs typeface="等线" panose="02010600030101010101" charset="-122"/>
              </a:rPr>
              <a:t> exercitation.</a:t>
            </a:r>
          </a:p>
        </p:txBody>
      </p:sp>
      <p:grpSp>
        <p:nvGrpSpPr>
          <p:cNvPr id="42" name="组合 4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736504" y="1826312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43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44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45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1"/>
            </p:custDataLst>
          </p:nvPr>
        </p:nvSpPr>
        <p:spPr>
          <a:xfrm>
            <a:off x="6664858" y="1430395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grpSp>
        <p:nvGrpSpPr>
          <p:cNvPr id="68" name="组合 6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9971387" y="630888"/>
            <a:ext cx="1511367" cy="1511367"/>
            <a:chOff x="12820095" y="3057565"/>
            <a:chExt cx="1511367" cy="1511367"/>
          </a:xfrm>
        </p:grpSpPr>
        <p:graphicFrame>
          <p:nvGraphicFramePr>
            <p:cNvPr id="47" name="Chart 38"/>
            <p:cNvGraphicFramePr/>
            <p:nvPr/>
          </p:nvGraphicFramePr>
          <p:xfrm>
            <a:off x="12962801" y="3169079"/>
            <a:ext cx="1229741" cy="12467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48" name="Bogen 10"/>
            <p:cNvSpPr/>
            <p:nvPr/>
          </p:nvSpPr>
          <p:spPr>
            <a:xfrm rot="16200000">
              <a:off x="12820095" y="3057565"/>
              <a:ext cx="1511367" cy="1511367"/>
            </a:xfrm>
            <a:prstGeom prst="arc">
              <a:avLst>
                <a:gd name="adj1" fmla="val 1060776"/>
                <a:gd name="adj2" fmla="val 15880060"/>
              </a:avLst>
            </a:prstGeom>
            <a:ln w="3175">
              <a:solidFill>
                <a:schemeClr val="bg1"/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50" name="AutoShape 3"/>
            <p:cNvSpPr>
              <a:spLocks noChangeAspect="1" noChangeArrowheads="1" noTextEdit="1"/>
            </p:cNvSpPr>
            <p:nvPr/>
          </p:nvSpPr>
          <p:spPr bwMode="auto">
            <a:xfrm>
              <a:off x="13171455" y="3219093"/>
              <a:ext cx="792862" cy="1190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51" name="Freeform 5"/>
            <p:cNvSpPr>
              <a:spLocks noEditPoints="1"/>
            </p:cNvSpPr>
            <p:nvPr/>
          </p:nvSpPr>
          <p:spPr bwMode="auto">
            <a:xfrm>
              <a:off x="13398157" y="3463741"/>
              <a:ext cx="87032" cy="209356"/>
            </a:xfrm>
            <a:custGeom>
              <a:avLst/>
              <a:gdLst>
                <a:gd name="T0" fmla="*/ 23 w 199"/>
                <a:gd name="T1" fmla="*/ 410 h 479"/>
                <a:gd name="T2" fmla="*/ 23 w 199"/>
                <a:gd name="T3" fmla="*/ 410 h 479"/>
                <a:gd name="T4" fmla="*/ 137 w 199"/>
                <a:gd name="T5" fmla="*/ 368 h 479"/>
                <a:gd name="T6" fmla="*/ 57 w 199"/>
                <a:gd name="T7" fmla="*/ 474 h 479"/>
                <a:gd name="T8" fmla="*/ 36 w 199"/>
                <a:gd name="T9" fmla="*/ 477 h 479"/>
                <a:gd name="T10" fmla="*/ 6 w 199"/>
                <a:gd name="T11" fmla="*/ 426 h 479"/>
                <a:gd name="T12" fmla="*/ 6 w 199"/>
                <a:gd name="T13" fmla="*/ 427 h 479"/>
                <a:gd name="T14" fmla="*/ 1 w 199"/>
                <a:gd name="T15" fmla="*/ 382 h 479"/>
                <a:gd name="T16" fmla="*/ 3 w 199"/>
                <a:gd name="T17" fmla="*/ 329 h 479"/>
                <a:gd name="T18" fmla="*/ 3 w 199"/>
                <a:gd name="T19" fmla="*/ 326 h 479"/>
                <a:gd name="T20" fmla="*/ 26 w 199"/>
                <a:gd name="T21" fmla="*/ 206 h 479"/>
                <a:gd name="T22" fmla="*/ 67 w 199"/>
                <a:gd name="T23" fmla="*/ 93 h 479"/>
                <a:gd name="T24" fmla="*/ 120 w 199"/>
                <a:gd name="T25" fmla="*/ 18 h 479"/>
                <a:gd name="T26" fmla="*/ 151 w 199"/>
                <a:gd name="T27" fmla="*/ 4 h 479"/>
                <a:gd name="T28" fmla="*/ 191 w 199"/>
                <a:gd name="T29" fmla="*/ 32 h 479"/>
                <a:gd name="T30" fmla="*/ 184 w 199"/>
                <a:gd name="T31" fmla="*/ 123 h 479"/>
                <a:gd name="T32" fmla="*/ 136 w 199"/>
                <a:gd name="T33" fmla="*/ 247 h 479"/>
                <a:gd name="T34" fmla="*/ 1 w 199"/>
                <a:gd name="T35" fmla="*/ 419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9" h="479">
                  <a:moveTo>
                    <a:pt x="23" y="410"/>
                  </a:moveTo>
                  <a:cubicBezTo>
                    <a:pt x="23" y="410"/>
                    <a:pt x="23" y="410"/>
                    <a:pt x="23" y="410"/>
                  </a:cubicBezTo>
                  <a:moveTo>
                    <a:pt x="137" y="368"/>
                  </a:moveTo>
                  <a:cubicBezTo>
                    <a:pt x="109" y="394"/>
                    <a:pt x="88" y="444"/>
                    <a:pt x="57" y="474"/>
                  </a:cubicBezTo>
                  <a:cubicBezTo>
                    <a:pt x="52" y="478"/>
                    <a:pt x="41" y="479"/>
                    <a:pt x="36" y="477"/>
                  </a:cubicBezTo>
                  <a:cubicBezTo>
                    <a:pt x="19" y="468"/>
                    <a:pt x="10" y="444"/>
                    <a:pt x="6" y="426"/>
                  </a:cubicBezTo>
                  <a:moveTo>
                    <a:pt x="6" y="427"/>
                  </a:moveTo>
                  <a:cubicBezTo>
                    <a:pt x="4" y="418"/>
                    <a:pt x="2" y="391"/>
                    <a:pt x="1" y="382"/>
                  </a:cubicBezTo>
                  <a:cubicBezTo>
                    <a:pt x="0" y="364"/>
                    <a:pt x="1" y="346"/>
                    <a:pt x="3" y="329"/>
                  </a:cubicBezTo>
                  <a:cubicBezTo>
                    <a:pt x="3" y="328"/>
                    <a:pt x="3" y="327"/>
                    <a:pt x="3" y="326"/>
                  </a:cubicBezTo>
                  <a:cubicBezTo>
                    <a:pt x="7" y="285"/>
                    <a:pt x="15" y="245"/>
                    <a:pt x="26" y="206"/>
                  </a:cubicBezTo>
                  <a:cubicBezTo>
                    <a:pt x="36" y="167"/>
                    <a:pt x="49" y="129"/>
                    <a:pt x="67" y="93"/>
                  </a:cubicBezTo>
                  <a:cubicBezTo>
                    <a:pt x="80" y="66"/>
                    <a:pt x="96" y="36"/>
                    <a:pt x="120" y="18"/>
                  </a:cubicBezTo>
                  <a:cubicBezTo>
                    <a:pt x="129" y="10"/>
                    <a:pt x="139" y="5"/>
                    <a:pt x="151" y="4"/>
                  </a:cubicBezTo>
                  <a:cubicBezTo>
                    <a:pt x="171" y="0"/>
                    <a:pt x="186" y="13"/>
                    <a:pt x="191" y="32"/>
                  </a:cubicBezTo>
                  <a:cubicBezTo>
                    <a:pt x="199" y="61"/>
                    <a:pt x="191" y="94"/>
                    <a:pt x="184" y="123"/>
                  </a:cubicBezTo>
                  <a:cubicBezTo>
                    <a:pt x="173" y="163"/>
                    <a:pt x="157" y="209"/>
                    <a:pt x="136" y="247"/>
                  </a:cubicBezTo>
                  <a:cubicBezTo>
                    <a:pt x="97" y="318"/>
                    <a:pt x="16" y="404"/>
                    <a:pt x="1" y="419"/>
                  </a:cubicBezTo>
                </a:path>
              </a:pathLst>
            </a:custGeom>
            <a:noFill/>
            <a:ln w="36513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52" name="Freeform 6"/>
            <p:cNvSpPr>
              <a:spLocks noEditPoints="1"/>
            </p:cNvSpPr>
            <p:nvPr/>
          </p:nvSpPr>
          <p:spPr bwMode="auto">
            <a:xfrm>
              <a:off x="13447207" y="3489461"/>
              <a:ext cx="141764" cy="182738"/>
            </a:xfrm>
            <a:custGeom>
              <a:avLst/>
              <a:gdLst>
                <a:gd name="T0" fmla="*/ 184 w 324"/>
                <a:gd name="T1" fmla="*/ 334 h 418"/>
                <a:gd name="T2" fmla="*/ 159 w 324"/>
                <a:gd name="T3" fmla="*/ 363 h 418"/>
                <a:gd name="T4" fmla="*/ 102 w 324"/>
                <a:gd name="T5" fmla="*/ 402 h 418"/>
                <a:gd name="T6" fmla="*/ 34 w 324"/>
                <a:gd name="T7" fmla="*/ 407 h 418"/>
                <a:gd name="T8" fmla="*/ 21 w 324"/>
                <a:gd name="T9" fmla="*/ 316 h 418"/>
                <a:gd name="T10" fmla="*/ 69 w 324"/>
                <a:gd name="T11" fmla="*/ 250 h 418"/>
                <a:gd name="T12" fmla="*/ 122 w 324"/>
                <a:gd name="T13" fmla="*/ 209 h 418"/>
                <a:gd name="T14" fmla="*/ 198 w 324"/>
                <a:gd name="T15" fmla="*/ 188 h 418"/>
                <a:gd name="T16" fmla="*/ 240 w 324"/>
                <a:gd name="T17" fmla="*/ 199 h 418"/>
                <a:gd name="T18" fmla="*/ 314 w 324"/>
                <a:gd name="T19" fmla="*/ 0 h 418"/>
                <a:gd name="T20" fmla="*/ 319 w 324"/>
                <a:gd name="T21" fmla="*/ 12 h 418"/>
                <a:gd name="T22" fmla="*/ 230 w 324"/>
                <a:gd name="T23" fmla="*/ 220 h 418"/>
                <a:gd name="T24" fmla="*/ 213 w 324"/>
                <a:gd name="T25" fmla="*/ 260 h 418"/>
                <a:gd name="T26" fmla="*/ 198 w 324"/>
                <a:gd name="T27" fmla="*/ 294 h 418"/>
                <a:gd name="T28" fmla="*/ 180 w 324"/>
                <a:gd name="T29" fmla="*/ 346 h 418"/>
                <a:gd name="T30" fmla="*/ 176 w 324"/>
                <a:gd name="T31" fmla="*/ 376 h 418"/>
                <a:gd name="T32" fmla="*/ 180 w 324"/>
                <a:gd name="T33" fmla="*/ 393 h 418"/>
                <a:gd name="T34" fmla="*/ 215 w 324"/>
                <a:gd name="T35" fmla="*/ 377 h 418"/>
                <a:gd name="T36" fmla="*/ 259 w 324"/>
                <a:gd name="T37" fmla="*/ 330 h 418"/>
                <a:gd name="T38" fmla="*/ 288 w 324"/>
                <a:gd name="T39" fmla="*/ 294 h 418"/>
                <a:gd name="T40" fmla="*/ 324 w 324"/>
                <a:gd name="T41" fmla="*/ 25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24" h="418">
                  <a:moveTo>
                    <a:pt x="184" y="334"/>
                  </a:moveTo>
                  <a:cubicBezTo>
                    <a:pt x="183" y="336"/>
                    <a:pt x="170" y="350"/>
                    <a:pt x="159" y="363"/>
                  </a:cubicBezTo>
                  <a:cubicBezTo>
                    <a:pt x="143" y="381"/>
                    <a:pt x="123" y="391"/>
                    <a:pt x="102" y="402"/>
                  </a:cubicBezTo>
                  <a:cubicBezTo>
                    <a:pt x="83" y="411"/>
                    <a:pt x="55" y="418"/>
                    <a:pt x="34" y="407"/>
                  </a:cubicBezTo>
                  <a:cubicBezTo>
                    <a:pt x="0" y="391"/>
                    <a:pt x="9" y="344"/>
                    <a:pt x="21" y="316"/>
                  </a:cubicBezTo>
                  <a:cubicBezTo>
                    <a:pt x="33" y="292"/>
                    <a:pt x="50" y="270"/>
                    <a:pt x="69" y="250"/>
                  </a:cubicBezTo>
                  <a:cubicBezTo>
                    <a:pt x="84" y="234"/>
                    <a:pt x="102" y="219"/>
                    <a:pt x="122" y="209"/>
                  </a:cubicBezTo>
                  <a:cubicBezTo>
                    <a:pt x="145" y="196"/>
                    <a:pt x="171" y="187"/>
                    <a:pt x="198" y="188"/>
                  </a:cubicBezTo>
                  <a:cubicBezTo>
                    <a:pt x="202" y="188"/>
                    <a:pt x="230" y="187"/>
                    <a:pt x="240" y="199"/>
                  </a:cubicBezTo>
                  <a:moveTo>
                    <a:pt x="314" y="0"/>
                  </a:moveTo>
                  <a:cubicBezTo>
                    <a:pt x="319" y="2"/>
                    <a:pt x="322" y="7"/>
                    <a:pt x="319" y="12"/>
                  </a:cubicBezTo>
                  <a:cubicBezTo>
                    <a:pt x="291" y="82"/>
                    <a:pt x="262" y="152"/>
                    <a:pt x="230" y="220"/>
                  </a:cubicBezTo>
                  <a:cubicBezTo>
                    <a:pt x="213" y="260"/>
                    <a:pt x="213" y="260"/>
                    <a:pt x="213" y="260"/>
                  </a:cubicBezTo>
                  <a:cubicBezTo>
                    <a:pt x="198" y="294"/>
                    <a:pt x="198" y="294"/>
                    <a:pt x="198" y="294"/>
                  </a:cubicBezTo>
                  <a:cubicBezTo>
                    <a:pt x="191" y="311"/>
                    <a:pt x="185" y="329"/>
                    <a:pt x="180" y="346"/>
                  </a:cubicBezTo>
                  <a:cubicBezTo>
                    <a:pt x="178" y="356"/>
                    <a:pt x="176" y="366"/>
                    <a:pt x="176" y="376"/>
                  </a:cubicBezTo>
                  <a:cubicBezTo>
                    <a:pt x="176" y="382"/>
                    <a:pt x="176" y="389"/>
                    <a:pt x="180" y="393"/>
                  </a:cubicBezTo>
                  <a:cubicBezTo>
                    <a:pt x="191" y="403"/>
                    <a:pt x="209" y="383"/>
                    <a:pt x="215" y="377"/>
                  </a:cubicBezTo>
                  <a:cubicBezTo>
                    <a:pt x="231" y="363"/>
                    <a:pt x="245" y="347"/>
                    <a:pt x="259" y="330"/>
                  </a:cubicBezTo>
                  <a:cubicBezTo>
                    <a:pt x="288" y="294"/>
                    <a:pt x="288" y="294"/>
                    <a:pt x="288" y="294"/>
                  </a:cubicBezTo>
                  <a:cubicBezTo>
                    <a:pt x="295" y="287"/>
                    <a:pt x="312" y="263"/>
                    <a:pt x="324" y="251"/>
                  </a:cubicBezTo>
                </a:path>
              </a:pathLst>
            </a:custGeom>
            <a:noFill/>
            <a:ln w="36513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53" name="Freeform 7"/>
            <p:cNvSpPr/>
            <p:nvPr/>
          </p:nvSpPr>
          <p:spPr bwMode="auto">
            <a:xfrm>
              <a:off x="13572821" y="3569017"/>
              <a:ext cx="83144" cy="100491"/>
            </a:xfrm>
            <a:custGeom>
              <a:avLst/>
              <a:gdLst>
                <a:gd name="T0" fmla="*/ 190 w 190"/>
                <a:gd name="T1" fmla="*/ 139 h 230"/>
                <a:gd name="T2" fmla="*/ 179 w 190"/>
                <a:gd name="T3" fmla="*/ 150 h 230"/>
                <a:gd name="T4" fmla="*/ 144 w 190"/>
                <a:gd name="T5" fmla="*/ 186 h 230"/>
                <a:gd name="T6" fmla="*/ 47 w 190"/>
                <a:gd name="T7" fmla="*/ 226 h 230"/>
                <a:gd name="T8" fmla="*/ 8 w 190"/>
                <a:gd name="T9" fmla="*/ 199 h 230"/>
                <a:gd name="T10" fmla="*/ 7 w 190"/>
                <a:gd name="T11" fmla="*/ 138 h 230"/>
                <a:gd name="T12" fmla="*/ 70 w 190"/>
                <a:gd name="T13" fmla="*/ 29 h 230"/>
                <a:gd name="T14" fmla="*/ 116 w 190"/>
                <a:gd name="T15" fmla="*/ 3 h 230"/>
                <a:gd name="T16" fmla="*/ 163 w 190"/>
                <a:gd name="T17" fmla="*/ 24 h 230"/>
                <a:gd name="T18" fmla="*/ 122 w 190"/>
                <a:gd name="T19" fmla="*/ 93 h 230"/>
                <a:gd name="T20" fmla="*/ 64 w 190"/>
                <a:gd name="T21" fmla="*/ 119 h 230"/>
                <a:gd name="T22" fmla="*/ 44 w 190"/>
                <a:gd name="T23" fmla="*/ 125 h 230"/>
                <a:gd name="T24" fmla="*/ 9 w 190"/>
                <a:gd name="T25" fmla="*/ 1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0" h="230">
                  <a:moveTo>
                    <a:pt x="190" y="139"/>
                  </a:moveTo>
                  <a:cubicBezTo>
                    <a:pt x="179" y="150"/>
                    <a:pt x="179" y="150"/>
                    <a:pt x="179" y="150"/>
                  </a:cubicBezTo>
                  <a:cubicBezTo>
                    <a:pt x="168" y="163"/>
                    <a:pt x="157" y="174"/>
                    <a:pt x="144" y="186"/>
                  </a:cubicBezTo>
                  <a:cubicBezTo>
                    <a:pt x="117" y="208"/>
                    <a:pt x="83" y="230"/>
                    <a:pt x="47" y="226"/>
                  </a:cubicBezTo>
                  <a:cubicBezTo>
                    <a:pt x="30" y="224"/>
                    <a:pt x="15" y="215"/>
                    <a:pt x="8" y="199"/>
                  </a:cubicBezTo>
                  <a:cubicBezTo>
                    <a:pt x="0" y="180"/>
                    <a:pt x="2" y="158"/>
                    <a:pt x="7" y="138"/>
                  </a:cubicBezTo>
                  <a:cubicBezTo>
                    <a:pt x="16" y="97"/>
                    <a:pt x="39" y="57"/>
                    <a:pt x="70" y="29"/>
                  </a:cubicBezTo>
                  <a:cubicBezTo>
                    <a:pt x="83" y="17"/>
                    <a:pt x="99" y="6"/>
                    <a:pt x="116" y="3"/>
                  </a:cubicBezTo>
                  <a:cubicBezTo>
                    <a:pt x="135" y="0"/>
                    <a:pt x="157" y="4"/>
                    <a:pt x="163" y="24"/>
                  </a:cubicBezTo>
                  <a:cubicBezTo>
                    <a:pt x="171" y="53"/>
                    <a:pt x="144" y="79"/>
                    <a:pt x="122" y="93"/>
                  </a:cubicBezTo>
                  <a:cubicBezTo>
                    <a:pt x="104" y="105"/>
                    <a:pt x="84" y="113"/>
                    <a:pt x="64" y="119"/>
                  </a:cubicBezTo>
                  <a:cubicBezTo>
                    <a:pt x="57" y="122"/>
                    <a:pt x="51" y="124"/>
                    <a:pt x="44" y="125"/>
                  </a:cubicBezTo>
                  <a:cubicBezTo>
                    <a:pt x="9" y="130"/>
                    <a:pt x="9" y="130"/>
                    <a:pt x="9" y="130"/>
                  </a:cubicBezTo>
                </a:path>
              </a:pathLst>
            </a:custGeom>
            <a:noFill/>
            <a:ln w="36513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54" name="Freeform 8"/>
            <p:cNvSpPr/>
            <p:nvPr/>
          </p:nvSpPr>
          <p:spPr bwMode="auto">
            <a:xfrm>
              <a:off x="13654171" y="3560343"/>
              <a:ext cx="102285" cy="104379"/>
            </a:xfrm>
            <a:custGeom>
              <a:avLst/>
              <a:gdLst>
                <a:gd name="T0" fmla="*/ 139 w 234"/>
                <a:gd name="T1" fmla="*/ 174 h 239"/>
                <a:gd name="T2" fmla="*/ 82 w 234"/>
                <a:gd name="T3" fmla="*/ 225 h 239"/>
                <a:gd name="T4" fmla="*/ 20 w 234"/>
                <a:gd name="T5" fmla="*/ 226 h 239"/>
                <a:gd name="T6" fmla="*/ 0 w 234"/>
                <a:gd name="T7" fmla="*/ 181 h 239"/>
                <a:gd name="T8" fmla="*/ 19 w 234"/>
                <a:gd name="T9" fmla="*/ 123 h 239"/>
                <a:gd name="T10" fmla="*/ 69 w 234"/>
                <a:gd name="T11" fmla="*/ 58 h 239"/>
                <a:gd name="T12" fmla="*/ 125 w 234"/>
                <a:gd name="T13" fmla="*/ 19 h 239"/>
                <a:gd name="T14" fmla="*/ 206 w 234"/>
                <a:gd name="T15" fmla="*/ 4 h 239"/>
                <a:gd name="T16" fmla="*/ 221 w 234"/>
                <a:gd name="T17" fmla="*/ 7 h 239"/>
                <a:gd name="T18" fmla="*/ 219 w 234"/>
                <a:gd name="T19" fmla="*/ 36 h 239"/>
                <a:gd name="T20" fmla="*/ 188 w 234"/>
                <a:gd name="T21" fmla="*/ 100 h 239"/>
                <a:gd name="T22" fmla="*/ 165 w 234"/>
                <a:gd name="T23" fmla="*/ 135 h 239"/>
                <a:gd name="T24" fmla="*/ 139 w 234"/>
                <a:gd name="T25" fmla="*/ 174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4" h="239">
                  <a:moveTo>
                    <a:pt x="139" y="174"/>
                  </a:moveTo>
                  <a:cubicBezTo>
                    <a:pt x="123" y="194"/>
                    <a:pt x="104" y="213"/>
                    <a:pt x="82" y="225"/>
                  </a:cubicBezTo>
                  <a:cubicBezTo>
                    <a:pt x="64" y="234"/>
                    <a:pt x="38" y="239"/>
                    <a:pt x="20" y="226"/>
                  </a:cubicBezTo>
                  <a:cubicBezTo>
                    <a:pt x="6" y="217"/>
                    <a:pt x="0" y="199"/>
                    <a:pt x="0" y="181"/>
                  </a:cubicBezTo>
                  <a:cubicBezTo>
                    <a:pt x="1" y="161"/>
                    <a:pt x="9" y="141"/>
                    <a:pt x="19" y="123"/>
                  </a:cubicBezTo>
                  <a:cubicBezTo>
                    <a:pt x="31" y="98"/>
                    <a:pt x="49" y="77"/>
                    <a:pt x="69" y="58"/>
                  </a:cubicBezTo>
                  <a:cubicBezTo>
                    <a:pt x="86" y="43"/>
                    <a:pt x="104" y="29"/>
                    <a:pt x="125" y="19"/>
                  </a:cubicBezTo>
                  <a:cubicBezTo>
                    <a:pt x="150" y="7"/>
                    <a:pt x="179" y="0"/>
                    <a:pt x="206" y="4"/>
                  </a:cubicBezTo>
                  <a:cubicBezTo>
                    <a:pt x="211" y="5"/>
                    <a:pt x="216" y="5"/>
                    <a:pt x="221" y="7"/>
                  </a:cubicBezTo>
                  <a:cubicBezTo>
                    <a:pt x="234" y="11"/>
                    <a:pt x="223" y="29"/>
                    <a:pt x="219" y="36"/>
                  </a:cubicBezTo>
                  <a:cubicBezTo>
                    <a:pt x="210" y="58"/>
                    <a:pt x="199" y="79"/>
                    <a:pt x="188" y="100"/>
                  </a:cubicBezTo>
                  <a:cubicBezTo>
                    <a:pt x="184" y="106"/>
                    <a:pt x="171" y="128"/>
                    <a:pt x="165" y="135"/>
                  </a:cubicBezTo>
                  <a:cubicBezTo>
                    <a:pt x="158" y="147"/>
                    <a:pt x="151" y="158"/>
                    <a:pt x="139" y="174"/>
                  </a:cubicBezTo>
                </a:path>
              </a:pathLst>
            </a:custGeom>
            <a:noFill/>
            <a:ln w="36513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55" name="Freeform 9"/>
            <p:cNvSpPr/>
            <p:nvPr/>
          </p:nvSpPr>
          <p:spPr bwMode="auto">
            <a:xfrm>
              <a:off x="13175044" y="3222084"/>
              <a:ext cx="786282" cy="930139"/>
            </a:xfrm>
            <a:custGeom>
              <a:avLst/>
              <a:gdLst>
                <a:gd name="T0" fmla="*/ 1797 w 1797"/>
                <a:gd name="T1" fmla="*/ 898 h 2129"/>
                <a:gd name="T2" fmla="*/ 899 w 1797"/>
                <a:gd name="T3" fmla="*/ 0 h 2129"/>
                <a:gd name="T4" fmla="*/ 1 w 1797"/>
                <a:gd name="T5" fmla="*/ 896 h 2129"/>
                <a:gd name="T6" fmla="*/ 329 w 1797"/>
                <a:gd name="T7" fmla="*/ 1592 h 2129"/>
                <a:gd name="T8" fmla="*/ 329 w 1797"/>
                <a:gd name="T9" fmla="*/ 1592 h 2129"/>
                <a:gd name="T10" fmla="*/ 329 w 1797"/>
                <a:gd name="T11" fmla="*/ 1592 h 2129"/>
                <a:gd name="T12" fmla="*/ 373 w 1797"/>
                <a:gd name="T13" fmla="*/ 1627 h 2129"/>
                <a:gd name="T14" fmla="*/ 562 w 1797"/>
                <a:gd name="T15" fmla="*/ 1797 h 2129"/>
                <a:gd name="T16" fmla="*/ 651 w 1797"/>
                <a:gd name="T17" fmla="*/ 2110 h 2129"/>
                <a:gd name="T18" fmla="*/ 671 w 1797"/>
                <a:gd name="T19" fmla="*/ 2129 h 2129"/>
                <a:gd name="T20" fmla="*/ 899 w 1797"/>
                <a:gd name="T21" fmla="*/ 2129 h 2129"/>
                <a:gd name="T22" fmla="*/ 1129 w 1797"/>
                <a:gd name="T23" fmla="*/ 2129 h 2129"/>
                <a:gd name="T24" fmla="*/ 1147 w 1797"/>
                <a:gd name="T25" fmla="*/ 2113 h 2129"/>
                <a:gd name="T26" fmla="*/ 1236 w 1797"/>
                <a:gd name="T27" fmla="*/ 1797 h 2129"/>
                <a:gd name="T28" fmla="*/ 1425 w 1797"/>
                <a:gd name="T29" fmla="*/ 1627 h 2129"/>
                <a:gd name="T30" fmla="*/ 1469 w 1797"/>
                <a:gd name="T31" fmla="*/ 1592 h 2129"/>
                <a:gd name="T32" fmla="*/ 1469 w 1797"/>
                <a:gd name="T33" fmla="*/ 1592 h 2129"/>
                <a:gd name="T34" fmla="*/ 1469 w 1797"/>
                <a:gd name="T35" fmla="*/ 1592 h 2129"/>
                <a:gd name="T36" fmla="*/ 1797 w 1797"/>
                <a:gd name="T37" fmla="*/ 898 h 2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96" h="2129">
                  <a:moveTo>
                    <a:pt x="1797" y="898"/>
                  </a:moveTo>
                  <a:cubicBezTo>
                    <a:pt x="1797" y="402"/>
                    <a:pt x="1395" y="0"/>
                    <a:pt x="899" y="0"/>
                  </a:cubicBezTo>
                  <a:cubicBezTo>
                    <a:pt x="403" y="0"/>
                    <a:pt x="2" y="400"/>
                    <a:pt x="1" y="896"/>
                  </a:cubicBezTo>
                  <a:cubicBezTo>
                    <a:pt x="0" y="1177"/>
                    <a:pt x="128" y="1427"/>
                    <a:pt x="329" y="1592"/>
                  </a:cubicBezTo>
                  <a:cubicBezTo>
                    <a:pt x="329" y="1592"/>
                    <a:pt x="329" y="1592"/>
                    <a:pt x="329" y="1592"/>
                  </a:cubicBezTo>
                  <a:cubicBezTo>
                    <a:pt x="329" y="1592"/>
                    <a:pt x="329" y="1592"/>
                    <a:pt x="329" y="1592"/>
                  </a:cubicBezTo>
                  <a:cubicBezTo>
                    <a:pt x="343" y="1604"/>
                    <a:pt x="358" y="1616"/>
                    <a:pt x="373" y="1627"/>
                  </a:cubicBezTo>
                  <a:cubicBezTo>
                    <a:pt x="429" y="1671"/>
                    <a:pt x="521" y="1746"/>
                    <a:pt x="562" y="1797"/>
                  </a:cubicBezTo>
                  <a:cubicBezTo>
                    <a:pt x="616" y="1865"/>
                    <a:pt x="646" y="2034"/>
                    <a:pt x="651" y="2110"/>
                  </a:cubicBezTo>
                  <a:cubicBezTo>
                    <a:pt x="652" y="2121"/>
                    <a:pt x="660" y="2129"/>
                    <a:pt x="671" y="2129"/>
                  </a:cubicBezTo>
                  <a:cubicBezTo>
                    <a:pt x="899" y="2129"/>
                    <a:pt x="899" y="2129"/>
                    <a:pt x="899" y="2129"/>
                  </a:cubicBezTo>
                  <a:cubicBezTo>
                    <a:pt x="1129" y="2129"/>
                    <a:pt x="1129" y="2129"/>
                    <a:pt x="1129" y="2129"/>
                  </a:cubicBezTo>
                  <a:cubicBezTo>
                    <a:pt x="1139" y="2129"/>
                    <a:pt x="1146" y="2122"/>
                    <a:pt x="1147" y="2113"/>
                  </a:cubicBezTo>
                  <a:cubicBezTo>
                    <a:pt x="1151" y="2038"/>
                    <a:pt x="1181" y="1866"/>
                    <a:pt x="1236" y="1797"/>
                  </a:cubicBezTo>
                  <a:cubicBezTo>
                    <a:pt x="1277" y="1746"/>
                    <a:pt x="1369" y="1671"/>
                    <a:pt x="1425" y="1627"/>
                  </a:cubicBezTo>
                  <a:cubicBezTo>
                    <a:pt x="1440" y="1616"/>
                    <a:pt x="1455" y="1604"/>
                    <a:pt x="1469" y="1592"/>
                  </a:cubicBezTo>
                  <a:cubicBezTo>
                    <a:pt x="1469" y="1592"/>
                    <a:pt x="1469" y="1592"/>
                    <a:pt x="1469" y="1592"/>
                  </a:cubicBezTo>
                  <a:cubicBezTo>
                    <a:pt x="1469" y="1592"/>
                    <a:pt x="1469" y="1592"/>
                    <a:pt x="1469" y="1592"/>
                  </a:cubicBezTo>
                  <a:cubicBezTo>
                    <a:pt x="1670" y="1428"/>
                    <a:pt x="1797" y="1178"/>
                    <a:pt x="1797" y="898"/>
                  </a:cubicBezTo>
                  <a:close/>
                </a:path>
              </a:pathLst>
            </a:custGeom>
            <a:noFill/>
            <a:ln w="36513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56" name="Freeform 10"/>
            <p:cNvSpPr/>
            <p:nvPr/>
          </p:nvSpPr>
          <p:spPr bwMode="auto">
            <a:xfrm>
              <a:off x="13268058" y="3569017"/>
              <a:ext cx="267079" cy="581113"/>
            </a:xfrm>
            <a:custGeom>
              <a:avLst/>
              <a:gdLst>
                <a:gd name="T0" fmla="*/ 610 w 610"/>
                <a:gd name="T1" fmla="*/ 1330 h 1330"/>
                <a:gd name="T2" fmla="*/ 497 w 610"/>
                <a:gd name="T3" fmla="*/ 768 h 1330"/>
                <a:gd name="T4" fmla="*/ 350 w 610"/>
                <a:gd name="T5" fmla="*/ 572 h 1330"/>
                <a:gd name="T6" fmla="*/ 221 w 610"/>
                <a:gd name="T7" fmla="*/ 496 h 1330"/>
                <a:gd name="T8" fmla="*/ 189 w 610"/>
                <a:gd name="T9" fmla="*/ 377 h 1330"/>
                <a:gd name="T10" fmla="*/ 175 w 610"/>
                <a:gd name="T11" fmla="*/ 170 h 1330"/>
                <a:gd name="T12" fmla="*/ 148 w 610"/>
                <a:gd name="T13" fmla="*/ 56 h 1330"/>
                <a:gd name="T14" fmla="*/ 47 w 610"/>
                <a:gd name="T15" fmla="*/ 17 h 1330"/>
                <a:gd name="T16" fmla="*/ 11 w 610"/>
                <a:gd name="T17" fmla="*/ 137 h 1330"/>
                <a:gd name="T18" fmla="*/ 86 w 610"/>
                <a:gd name="T19" fmla="*/ 246 h 1330"/>
                <a:gd name="T20" fmla="*/ 305 w 610"/>
                <a:gd name="T21" fmla="*/ 171 h 1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10" h="1330">
                  <a:moveTo>
                    <a:pt x="610" y="1330"/>
                  </a:moveTo>
                  <a:cubicBezTo>
                    <a:pt x="609" y="1138"/>
                    <a:pt x="571" y="945"/>
                    <a:pt x="497" y="768"/>
                  </a:cubicBezTo>
                  <a:cubicBezTo>
                    <a:pt x="465" y="691"/>
                    <a:pt x="422" y="613"/>
                    <a:pt x="350" y="572"/>
                  </a:cubicBezTo>
                  <a:cubicBezTo>
                    <a:pt x="306" y="547"/>
                    <a:pt x="252" y="535"/>
                    <a:pt x="221" y="496"/>
                  </a:cubicBezTo>
                  <a:cubicBezTo>
                    <a:pt x="196" y="463"/>
                    <a:pt x="192" y="419"/>
                    <a:pt x="189" y="377"/>
                  </a:cubicBezTo>
                  <a:cubicBezTo>
                    <a:pt x="184" y="308"/>
                    <a:pt x="180" y="239"/>
                    <a:pt x="175" y="170"/>
                  </a:cubicBezTo>
                  <a:cubicBezTo>
                    <a:pt x="172" y="131"/>
                    <a:pt x="169" y="90"/>
                    <a:pt x="148" y="56"/>
                  </a:cubicBezTo>
                  <a:cubicBezTo>
                    <a:pt x="127" y="23"/>
                    <a:pt x="83" y="0"/>
                    <a:pt x="47" y="17"/>
                  </a:cubicBezTo>
                  <a:cubicBezTo>
                    <a:pt x="6" y="36"/>
                    <a:pt x="0" y="93"/>
                    <a:pt x="11" y="137"/>
                  </a:cubicBezTo>
                  <a:cubicBezTo>
                    <a:pt x="21" y="181"/>
                    <a:pt x="45" y="225"/>
                    <a:pt x="86" y="246"/>
                  </a:cubicBezTo>
                  <a:cubicBezTo>
                    <a:pt x="135" y="272"/>
                    <a:pt x="196" y="271"/>
                    <a:pt x="305" y="171"/>
                  </a:cubicBezTo>
                </a:path>
              </a:pathLst>
            </a:custGeom>
            <a:noFill/>
            <a:ln w="36513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57" name="Freeform 11"/>
            <p:cNvSpPr/>
            <p:nvPr/>
          </p:nvSpPr>
          <p:spPr bwMode="auto">
            <a:xfrm>
              <a:off x="13587177" y="3566026"/>
              <a:ext cx="266780" cy="584104"/>
            </a:xfrm>
            <a:custGeom>
              <a:avLst/>
              <a:gdLst>
                <a:gd name="T0" fmla="*/ 0 w 610"/>
                <a:gd name="T1" fmla="*/ 1337 h 1337"/>
                <a:gd name="T2" fmla="*/ 113 w 610"/>
                <a:gd name="T3" fmla="*/ 768 h 1337"/>
                <a:gd name="T4" fmla="*/ 260 w 610"/>
                <a:gd name="T5" fmla="*/ 572 h 1337"/>
                <a:gd name="T6" fmla="*/ 388 w 610"/>
                <a:gd name="T7" fmla="*/ 496 h 1337"/>
                <a:gd name="T8" fmla="*/ 421 w 610"/>
                <a:gd name="T9" fmla="*/ 377 h 1337"/>
                <a:gd name="T10" fmla="*/ 426 w 610"/>
                <a:gd name="T11" fmla="*/ 169 h 1337"/>
                <a:gd name="T12" fmla="*/ 464 w 610"/>
                <a:gd name="T13" fmla="*/ 53 h 1337"/>
                <a:gd name="T14" fmla="*/ 562 w 610"/>
                <a:gd name="T15" fmla="*/ 17 h 1337"/>
                <a:gd name="T16" fmla="*/ 599 w 610"/>
                <a:gd name="T17" fmla="*/ 137 h 1337"/>
                <a:gd name="T18" fmla="*/ 518 w 610"/>
                <a:gd name="T19" fmla="*/ 242 h 1337"/>
                <a:gd name="T20" fmla="*/ 335 w 610"/>
                <a:gd name="T21" fmla="*/ 232 h 1337"/>
                <a:gd name="T22" fmla="*/ 354 w 610"/>
                <a:gd name="T23" fmla="*/ 61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10" h="1337">
                  <a:moveTo>
                    <a:pt x="0" y="1337"/>
                  </a:moveTo>
                  <a:cubicBezTo>
                    <a:pt x="0" y="1145"/>
                    <a:pt x="39" y="945"/>
                    <a:pt x="113" y="768"/>
                  </a:cubicBezTo>
                  <a:cubicBezTo>
                    <a:pt x="145" y="691"/>
                    <a:pt x="187" y="613"/>
                    <a:pt x="260" y="572"/>
                  </a:cubicBezTo>
                  <a:cubicBezTo>
                    <a:pt x="303" y="547"/>
                    <a:pt x="357" y="535"/>
                    <a:pt x="388" y="496"/>
                  </a:cubicBezTo>
                  <a:cubicBezTo>
                    <a:pt x="414" y="463"/>
                    <a:pt x="418" y="419"/>
                    <a:pt x="421" y="377"/>
                  </a:cubicBezTo>
                  <a:cubicBezTo>
                    <a:pt x="425" y="308"/>
                    <a:pt x="421" y="238"/>
                    <a:pt x="426" y="169"/>
                  </a:cubicBezTo>
                  <a:cubicBezTo>
                    <a:pt x="429" y="129"/>
                    <a:pt x="443" y="86"/>
                    <a:pt x="464" y="53"/>
                  </a:cubicBezTo>
                  <a:cubicBezTo>
                    <a:pt x="484" y="19"/>
                    <a:pt x="527" y="0"/>
                    <a:pt x="562" y="17"/>
                  </a:cubicBezTo>
                  <a:cubicBezTo>
                    <a:pt x="603" y="36"/>
                    <a:pt x="610" y="93"/>
                    <a:pt x="599" y="137"/>
                  </a:cubicBezTo>
                  <a:cubicBezTo>
                    <a:pt x="589" y="181"/>
                    <a:pt x="555" y="215"/>
                    <a:pt x="518" y="242"/>
                  </a:cubicBezTo>
                  <a:cubicBezTo>
                    <a:pt x="472" y="275"/>
                    <a:pt x="371" y="291"/>
                    <a:pt x="335" y="232"/>
                  </a:cubicBezTo>
                  <a:cubicBezTo>
                    <a:pt x="318" y="205"/>
                    <a:pt x="320" y="134"/>
                    <a:pt x="354" y="61"/>
                  </a:cubicBezTo>
                </a:path>
              </a:pathLst>
            </a:custGeom>
            <a:noFill/>
            <a:ln w="36513" cap="flat">
              <a:solidFill>
                <a:schemeClr val="bg1"/>
              </a:solidFill>
              <a:prstDash val="solid"/>
              <a:miter lim="800000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/>
          </p:nvSpPr>
          <p:spPr bwMode="auto">
            <a:xfrm>
              <a:off x="13461862" y="4150130"/>
              <a:ext cx="211450" cy="122324"/>
            </a:xfrm>
            <a:prstGeom prst="rect">
              <a:avLst/>
            </a:pr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59" name="Freeform 13"/>
            <p:cNvSpPr/>
            <p:nvPr/>
          </p:nvSpPr>
          <p:spPr bwMode="auto">
            <a:xfrm>
              <a:off x="13461862" y="4280828"/>
              <a:ext cx="212646" cy="9870"/>
            </a:xfrm>
            <a:custGeom>
              <a:avLst/>
              <a:gdLst>
                <a:gd name="T0" fmla="*/ 482 w 486"/>
                <a:gd name="T1" fmla="*/ 23 h 23"/>
                <a:gd name="T2" fmla="*/ 4 w 486"/>
                <a:gd name="T3" fmla="*/ 23 h 23"/>
                <a:gd name="T4" fmla="*/ 0 w 486"/>
                <a:gd name="T5" fmla="*/ 19 h 23"/>
                <a:gd name="T6" fmla="*/ 0 w 486"/>
                <a:gd name="T7" fmla="*/ 4 h 23"/>
                <a:gd name="T8" fmla="*/ 4 w 486"/>
                <a:gd name="T9" fmla="*/ 0 h 23"/>
                <a:gd name="T10" fmla="*/ 482 w 486"/>
                <a:gd name="T11" fmla="*/ 0 h 23"/>
                <a:gd name="T12" fmla="*/ 486 w 486"/>
                <a:gd name="T13" fmla="*/ 4 h 23"/>
                <a:gd name="T14" fmla="*/ 486 w 486"/>
                <a:gd name="T15" fmla="*/ 19 h 23"/>
                <a:gd name="T16" fmla="*/ 482 w 486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23">
                  <a:moveTo>
                    <a:pt x="48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4" y="0"/>
                    <a:pt x="486" y="2"/>
                    <a:pt x="486" y="4"/>
                  </a:cubicBezTo>
                  <a:cubicBezTo>
                    <a:pt x="486" y="19"/>
                    <a:pt x="486" y="19"/>
                    <a:pt x="486" y="19"/>
                  </a:cubicBezTo>
                  <a:cubicBezTo>
                    <a:pt x="486" y="21"/>
                    <a:pt x="484" y="23"/>
                    <a:pt x="482" y="23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60" name="Freeform 14"/>
            <p:cNvSpPr/>
            <p:nvPr/>
          </p:nvSpPr>
          <p:spPr bwMode="auto">
            <a:xfrm>
              <a:off x="13461862" y="4299371"/>
              <a:ext cx="212646" cy="10169"/>
            </a:xfrm>
            <a:custGeom>
              <a:avLst/>
              <a:gdLst>
                <a:gd name="T0" fmla="*/ 482 w 486"/>
                <a:gd name="T1" fmla="*/ 23 h 23"/>
                <a:gd name="T2" fmla="*/ 4 w 486"/>
                <a:gd name="T3" fmla="*/ 23 h 23"/>
                <a:gd name="T4" fmla="*/ 0 w 486"/>
                <a:gd name="T5" fmla="*/ 19 h 23"/>
                <a:gd name="T6" fmla="*/ 0 w 486"/>
                <a:gd name="T7" fmla="*/ 4 h 23"/>
                <a:gd name="T8" fmla="*/ 4 w 486"/>
                <a:gd name="T9" fmla="*/ 0 h 23"/>
                <a:gd name="T10" fmla="*/ 482 w 486"/>
                <a:gd name="T11" fmla="*/ 0 h 23"/>
                <a:gd name="T12" fmla="*/ 486 w 486"/>
                <a:gd name="T13" fmla="*/ 4 h 23"/>
                <a:gd name="T14" fmla="*/ 486 w 486"/>
                <a:gd name="T15" fmla="*/ 19 h 23"/>
                <a:gd name="T16" fmla="*/ 482 w 486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23">
                  <a:moveTo>
                    <a:pt x="48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4" y="0"/>
                    <a:pt x="486" y="2"/>
                    <a:pt x="486" y="4"/>
                  </a:cubicBezTo>
                  <a:cubicBezTo>
                    <a:pt x="486" y="19"/>
                    <a:pt x="486" y="19"/>
                    <a:pt x="486" y="19"/>
                  </a:cubicBezTo>
                  <a:cubicBezTo>
                    <a:pt x="486" y="21"/>
                    <a:pt x="484" y="23"/>
                    <a:pt x="482" y="23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61" name="Freeform 15"/>
            <p:cNvSpPr/>
            <p:nvPr/>
          </p:nvSpPr>
          <p:spPr bwMode="auto">
            <a:xfrm>
              <a:off x="13461862" y="4318213"/>
              <a:ext cx="212646" cy="10169"/>
            </a:xfrm>
            <a:custGeom>
              <a:avLst/>
              <a:gdLst>
                <a:gd name="T0" fmla="*/ 482 w 486"/>
                <a:gd name="T1" fmla="*/ 23 h 23"/>
                <a:gd name="T2" fmla="*/ 4 w 486"/>
                <a:gd name="T3" fmla="*/ 23 h 23"/>
                <a:gd name="T4" fmla="*/ 0 w 486"/>
                <a:gd name="T5" fmla="*/ 19 h 23"/>
                <a:gd name="T6" fmla="*/ 0 w 486"/>
                <a:gd name="T7" fmla="*/ 4 h 23"/>
                <a:gd name="T8" fmla="*/ 4 w 486"/>
                <a:gd name="T9" fmla="*/ 0 h 23"/>
                <a:gd name="T10" fmla="*/ 482 w 486"/>
                <a:gd name="T11" fmla="*/ 0 h 23"/>
                <a:gd name="T12" fmla="*/ 486 w 486"/>
                <a:gd name="T13" fmla="*/ 4 h 23"/>
                <a:gd name="T14" fmla="*/ 486 w 486"/>
                <a:gd name="T15" fmla="*/ 19 h 23"/>
                <a:gd name="T16" fmla="*/ 482 w 486"/>
                <a:gd name="T17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6" h="23">
                  <a:moveTo>
                    <a:pt x="482" y="23"/>
                  </a:move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1"/>
                    <a:pt x="0" y="19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4" y="0"/>
                    <a:pt x="486" y="2"/>
                    <a:pt x="486" y="4"/>
                  </a:cubicBezTo>
                  <a:cubicBezTo>
                    <a:pt x="486" y="19"/>
                    <a:pt x="486" y="19"/>
                    <a:pt x="486" y="19"/>
                  </a:cubicBezTo>
                  <a:cubicBezTo>
                    <a:pt x="486" y="21"/>
                    <a:pt x="484" y="23"/>
                    <a:pt x="482" y="23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62" name="Freeform 16"/>
            <p:cNvSpPr/>
            <p:nvPr/>
          </p:nvSpPr>
          <p:spPr bwMode="auto">
            <a:xfrm>
              <a:off x="13461862" y="4337055"/>
              <a:ext cx="212646" cy="57124"/>
            </a:xfrm>
            <a:custGeom>
              <a:avLst/>
              <a:gdLst>
                <a:gd name="T0" fmla="*/ 478 w 486"/>
                <a:gd name="T1" fmla="*/ 0 h 131"/>
                <a:gd name="T2" fmla="*/ 239 w 486"/>
                <a:gd name="T3" fmla="*/ 0 h 131"/>
                <a:gd name="T4" fmla="*/ 231 w 486"/>
                <a:gd name="T5" fmla="*/ 0 h 131"/>
                <a:gd name="T6" fmla="*/ 8 w 486"/>
                <a:gd name="T7" fmla="*/ 0 h 131"/>
                <a:gd name="T8" fmla="*/ 0 w 486"/>
                <a:gd name="T9" fmla="*/ 8 h 131"/>
                <a:gd name="T10" fmla="*/ 53 w 486"/>
                <a:gd name="T11" fmla="*/ 116 h 131"/>
                <a:gd name="T12" fmla="*/ 235 w 486"/>
                <a:gd name="T13" fmla="*/ 131 h 131"/>
                <a:gd name="T14" fmla="*/ 433 w 486"/>
                <a:gd name="T15" fmla="*/ 116 h 131"/>
                <a:gd name="T16" fmla="*/ 486 w 486"/>
                <a:gd name="T17" fmla="*/ 8 h 131"/>
                <a:gd name="T18" fmla="*/ 478 w 486"/>
                <a:gd name="T1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6" h="131">
                  <a:moveTo>
                    <a:pt x="478" y="0"/>
                  </a:moveTo>
                  <a:cubicBezTo>
                    <a:pt x="239" y="0"/>
                    <a:pt x="239" y="0"/>
                    <a:pt x="239" y="0"/>
                  </a:cubicBezTo>
                  <a:cubicBezTo>
                    <a:pt x="231" y="0"/>
                    <a:pt x="231" y="0"/>
                    <a:pt x="231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4" y="38"/>
                    <a:pt x="27" y="107"/>
                    <a:pt x="53" y="116"/>
                  </a:cubicBezTo>
                  <a:cubicBezTo>
                    <a:pt x="78" y="125"/>
                    <a:pt x="154" y="131"/>
                    <a:pt x="235" y="131"/>
                  </a:cubicBezTo>
                  <a:cubicBezTo>
                    <a:pt x="316" y="131"/>
                    <a:pt x="408" y="125"/>
                    <a:pt x="433" y="116"/>
                  </a:cubicBezTo>
                  <a:cubicBezTo>
                    <a:pt x="459" y="107"/>
                    <a:pt x="482" y="38"/>
                    <a:pt x="486" y="8"/>
                  </a:cubicBezTo>
                  <a:cubicBezTo>
                    <a:pt x="486" y="4"/>
                    <a:pt x="482" y="0"/>
                    <a:pt x="478" y="0"/>
                  </a:cubicBez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63" name="Rectangle 17"/>
            <p:cNvSpPr>
              <a:spLocks noChangeArrowheads="1"/>
            </p:cNvSpPr>
            <p:nvPr/>
          </p:nvSpPr>
          <p:spPr bwMode="auto">
            <a:xfrm>
              <a:off x="13520482" y="4385506"/>
              <a:ext cx="95407" cy="23328"/>
            </a:xfrm>
            <a:prstGeom prst="rect">
              <a:avLst/>
            </a:prstGeom>
            <a:solidFill>
              <a:srgbClr val="4040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64" name="Rectangle 18"/>
            <p:cNvSpPr>
              <a:spLocks noChangeArrowheads="1"/>
            </p:cNvSpPr>
            <p:nvPr/>
          </p:nvSpPr>
          <p:spPr bwMode="auto">
            <a:xfrm>
              <a:off x="13408926" y="4205459"/>
              <a:ext cx="233283" cy="23328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65" name="Rectangle 19"/>
            <p:cNvSpPr>
              <a:spLocks noChangeArrowheads="1"/>
            </p:cNvSpPr>
            <p:nvPr/>
          </p:nvSpPr>
          <p:spPr bwMode="auto">
            <a:xfrm>
              <a:off x="13408926" y="4171065"/>
              <a:ext cx="22431" cy="91818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66" name="Rectangle 20"/>
            <p:cNvSpPr>
              <a:spLocks noChangeArrowheads="1"/>
            </p:cNvSpPr>
            <p:nvPr/>
          </p:nvSpPr>
          <p:spPr bwMode="auto">
            <a:xfrm>
              <a:off x="13484592" y="4205459"/>
              <a:ext cx="233881" cy="23328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67" name="Rectangle 21"/>
            <p:cNvSpPr>
              <a:spLocks noChangeArrowheads="1"/>
            </p:cNvSpPr>
            <p:nvPr/>
          </p:nvSpPr>
          <p:spPr bwMode="auto">
            <a:xfrm>
              <a:off x="13695742" y="4171065"/>
              <a:ext cx="22730" cy="91818"/>
            </a:xfrm>
            <a:prstGeom prst="rect">
              <a:avLst/>
            </a:prstGeom>
            <a:solidFill>
              <a:srgbClr val="5B9B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45720" tIns="22860" rIns="45720" bIns="22860" numCol="1" anchor="t" anchorCtr="0" compatLnSpc="1"/>
            <a:lstStyle/>
            <a:p>
              <a:endParaRPr lang="de-DE" sz="900" dirty="0">
                <a:cs typeface="等线" panose="02010600030101010101" charset="-122"/>
              </a:endParaRPr>
            </a:p>
          </p:txBody>
        </p:sp>
      </p:grp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图片占位符 1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54" name="Freeform: Shape 5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0" y="0"/>
            <a:ext cx="12192000" cy="3484707"/>
          </a:xfrm>
          <a:custGeom>
            <a:avLst/>
            <a:gdLst>
              <a:gd name="connsiteX0" fmla="*/ 0 w 12192000"/>
              <a:gd name="connsiteY0" fmla="*/ 0 h 3484707"/>
              <a:gd name="connsiteX1" fmla="*/ 12192000 w 12192000"/>
              <a:gd name="connsiteY1" fmla="*/ 0 h 3484707"/>
              <a:gd name="connsiteX2" fmla="*/ 12192000 w 12192000"/>
              <a:gd name="connsiteY2" fmla="*/ 3484707 h 3484707"/>
              <a:gd name="connsiteX3" fmla="*/ 12043486 w 12192000"/>
              <a:gd name="connsiteY3" fmla="*/ 3441804 h 3484707"/>
              <a:gd name="connsiteX4" fmla="*/ 8515350 w 12192000"/>
              <a:gd name="connsiteY4" fmla="*/ 2628900 h 3484707"/>
              <a:gd name="connsiteX5" fmla="*/ 4038600 w 12192000"/>
              <a:gd name="connsiteY5" fmla="*/ 2990850 h 3484707"/>
              <a:gd name="connsiteX6" fmla="*/ 249734 w 12192000"/>
              <a:gd name="connsiteY6" fmla="*/ 2066181 h 3484707"/>
              <a:gd name="connsiteX7" fmla="*/ 0 w 12192000"/>
              <a:gd name="connsiteY7" fmla="*/ 1988954 h 3484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484706">
                <a:moveTo>
                  <a:pt x="0" y="0"/>
                </a:moveTo>
                <a:lnTo>
                  <a:pt x="12192000" y="0"/>
                </a:lnTo>
                <a:lnTo>
                  <a:pt x="12192000" y="3484707"/>
                </a:lnTo>
                <a:lnTo>
                  <a:pt x="12043486" y="3441804"/>
                </a:lnTo>
                <a:cubicBezTo>
                  <a:pt x="11152758" y="3180792"/>
                  <a:pt x="9668470" y="2708870"/>
                  <a:pt x="8515350" y="2628900"/>
                </a:cubicBezTo>
                <a:cubicBezTo>
                  <a:pt x="7096125" y="2530475"/>
                  <a:pt x="5559425" y="3127375"/>
                  <a:pt x="4038600" y="2990850"/>
                </a:cubicBezTo>
                <a:cubicBezTo>
                  <a:pt x="2897982" y="2888456"/>
                  <a:pt x="1316236" y="2396728"/>
                  <a:pt x="249734" y="2066181"/>
                </a:cubicBezTo>
                <a:lnTo>
                  <a:pt x="0" y="1988954"/>
                </a:lnTo>
                <a:close/>
              </a:path>
            </a:pathLst>
          </a:custGeom>
          <a:gradFill flip="none" rotWithShape="1">
            <a:gsLst>
              <a:gs pos="0">
                <a:schemeClr val="accent3">
                  <a:alpha val="9000"/>
                </a:schemeClr>
              </a:gs>
              <a:gs pos="100000">
                <a:schemeClr val="accent2">
                  <a:alpha val="80000"/>
                </a:schemeClr>
              </a:gs>
            </a:gsLst>
            <a:lin ang="108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grpSp>
        <p:nvGrpSpPr>
          <p:cNvPr id="67" name="Group 6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978645" y="849469"/>
            <a:ext cx="3618053" cy="5241449"/>
            <a:chOff x="7978645" y="849469"/>
            <a:chExt cx="3618053" cy="5241449"/>
          </a:xfrm>
        </p:grpSpPr>
        <p:grpSp>
          <p:nvGrpSpPr>
            <p:cNvPr id="104" name="Group 103"/>
            <p:cNvGrpSpPr/>
            <p:nvPr/>
          </p:nvGrpSpPr>
          <p:grpSpPr>
            <a:xfrm>
              <a:off x="7978645" y="849469"/>
              <a:ext cx="3618053" cy="5241449"/>
              <a:chOff x="7978645" y="849469"/>
              <a:chExt cx="3618053" cy="5241449"/>
            </a:xfrm>
          </p:grpSpPr>
          <p:sp>
            <p:nvSpPr>
              <p:cNvPr id="65" name="Rectangle: Rounded Corners 64"/>
              <p:cNvSpPr/>
              <p:nvPr/>
            </p:nvSpPr>
            <p:spPr>
              <a:xfrm>
                <a:off x="7978645" y="849469"/>
                <a:ext cx="3618053" cy="5241449"/>
              </a:xfrm>
              <a:prstGeom prst="roundRect">
                <a:avLst>
                  <a:gd name="adj" fmla="val 1755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0" dist="876300" dir="5400000" sx="85000" sy="85000" algn="t" rotWithShape="0">
                  <a:prstClr val="black">
                    <a:alpha val="24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cs typeface="等线" panose="02010600030101010101" charset="-122"/>
                </a:endParaRPr>
              </a:p>
            </p:txBody>
          </p:sp>
          <p:cxnSp>
            <p:nvCxnSpPr>
              <p:cNvPr id="95" name="Straight Connector 94"/>
              <p:cNvCxnSpPr/>
              <p:nvPr/>
            </p:nvCxnSpPr>
            <p:spPr>
              <a:xfrm>
                <a:off x="7978645" y="1639013"/>
                <a:ext cx="3618053" cy="1"/>
              </a:xfrm>
              <a:prstGeom prst="line">
                <a:avLst/>
              </a:prstGeom>
              <a:ln w="3175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6" name="Rectangle 65"/>
            <p:cNvSpPr/>
            <p:nvPr/>
          </p:nvSpPr>
          <p:spPr>
            <a:xfrm>
              <a:off x="8447756" y="6005513"/>
              <a:ext cx="2679831" cy="854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90" name="Group 8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515120" y="1993287"/>
            <a:ext cx="152860" cy="3306327"/>
            <a:chOff x="8515120" y="2290094"/>
            <a:chExt cx="152860" cy="3306327"/>
          </a:xfrm>
        </p:grpSpPr>
        <p:grpSp>
          <p:nvGrpSpPr>
            <p:cNvPr id="87" name="Group 86"/>
            <p:cNvGrpSpPr/>
            <p:nvPr/>
          </p:nvGrpSpPr>
          <p:grpSpPr>
            <a:xfrm>
              <a:off x="8515120" y="2290094"/>
              <a:ext cx="152860" cy="1027701"/>
              <a:chOff x="8515120" y="2290094"/>
              <a:chExt cx="152860" cy="1027701"/>
            </a:xfrm>
          </p:grpSpPr>
          <p:cxnSp>
            <p:nvCxnSpPr>
              <p:cNvPr id="50" name="Straight Connector 49"/>
              <p:cNvCxnSpPr/>
              <p:nvPr/>
            </p:nvCxnSpPr>
            <p:spPr>
              <a:xfrm flipH="1">
                <a:off x="8591550" y="2554566"/>
                <a:ext cx="0" cy="763229"/>
              </a:xfrm>
              <a:prstGeom prst="line">
                <a:avLst/>
              </a:prstGeom>
              <a:ln w="381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9" name="Oval 58"/>
              <p:cNvSpPr/>
              <p:nvPr/>
            </p:nvSpPr>
            <p:spPr>
              <a:xfrm>
                <a:off x="8515120" y="2290094"/>
                <a:ext cx="152860" cy="152860"/>
              </a:xfrm>
              <a:prstGeom prst="ellipse">
                <a:avLst/>
              </a:prstGeom>
              <a:ln w="381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cs typeface="等线" panose="02010600030101010101" charset="-122"/>
                </a:endParaRPr>
              </a:p>
            </p:txBody>
          </p:sp>
        </p:grpSp>
        <p:grpSp>
          <p:nvGrpSpPr>
            <p:cNvPr id="88" name="Group 87"/>
            <p:cNvGrpSpPr/>
            <p:nvPr/>
          </p:nvGrpSpPr>
          <p:grpSpPr>
            <a:xfrm>
              <a:off x="8515120" y="3429407"/>
              <a:ext cx="152860" cy="1027701"/>
              <a:chOff x="8515120" y="3429407"/>
              <a:chExt cx="152860" cy="1027701"/>
            </a:xfrm>
          </p:grpSpPr>
          <p:cxnSp>
            <p:nvCxnSpPr>
              <p:cNvPr id="68" name="Straight Connector 67"/>
              <p:cNvCxnSpPr/>
              <p:nvPr/>
            </p:nvCxnSpPr>
            <p:spPr>
              <a:xfrm flipH="1">
                <a:off x="8591550" y="3693879"/>
                <a:ext cx="0" cy="763229"/>
              </a:xfrm>
              <a:prstGeom prst="line">
                <a:avLst/>
              </a:prstGeom>
              <a:ln w="38100" cap="rnd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" name="Oval 68"/>
              <p:cNvSpPr/>
              <p:nvPr/>
            </p:nvSpPr>
            <p:spPr>
              <a:xfrm>
                <a:off x="8515120" y="3429407"/>
                <a:ext cx="152860" cy="152860"/>
              </a:xfrm>
              <a:prstGeom prst="ellipse">
                <a:avLst/>
              </a:prstGeom>
              <a:ln w="381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cs typeface="等线" panose="02010600030101010101" charset="-122"/>
                </a:endParaRPr>
              </a:p>
            </p:txBody>
          </p:sp>
        </p:grpSp>
        <p:grpSp>
          <p:nvGrpSpPr>
            <p:cNvPr id="89" name="Group 88"/>
            <p:cNvGrpSpPr/>
            <p:nvPr/>
          </p:nvGrpSpPr>
          <p:grpSpPr>
            <a:xfrm>
              <a:off x="8515120" y="4568720"/>
              <a:ext cx="152860" cy="1027701"/>
              <a:chOff x="8515120" y="4568720"/>
              <a:chExt cx="152860" cy="1027701"/>
            </a:xfrm>
          </p:grpSpPr>
          <p:cxnSp>
            <p:nvCxnSpPr>
              <p:cNvPr id="70" name="Straight Connector 69"/>
              <p:cNvCxnSpPr/>
              <p:nvPr/>
            </p:nvCxnSpPr>
            <p:spPr>
              <a:xfrm flipH="1">
                <a:off x="8591550" y="4833192"/>
                <a:ext cx="0" cy="763229"/>
              </a:xfrm>
              <a:prstGeom prst="line">
                <a:avLst/>
              </a:prstGeom>
              <a:ln w="38100" cap="rnd">
                <a:solidFill>
                  <a:schemeClr val="bg1">
                    <a:lumMod val="9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1" name="Oval 70"/>
              <p:cNvSpPr/>
              <p:nvPr/>
            </p:nvSpPr>
            <p:spPr>
              <a:xfrm>
                <a:off x="8515120" y="4568720"/>
                <a:ext cx="152860" cy="152860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cs typeface="等线" panose="02010600030101010101" charset="-122"/>
                </a:endParaRPr>
              </a:p>
            </p:txBody>
          </p:sp>
        </p:grpSp>
      </p:grpSp>
      <p:grpSp>
        <p:nvGrpSpPr>
          <p:cNvPr id="86" name="Group 8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748868" y="1828737"/>
            <a:ext cx="2390847" cy="867341"/>
            <a:chOff x="8748868" y="1978640"/>
            <a:chExt cx="2390847" cy="867341"/>
          </a:xfrm>
        </p:grpSpPr>
        <p:grpSp>
          <p:nvGrpSpPr>
            <p:cNvPr id="74" name="Group 73"/>
            <p:cNvGrpSpPr/>
            <p:nvPr/>
          </p:nvGrpSpPr>
          <p:grpSpPr>
            <a:xfrm>
              <a:off x="8748868" y="2207538"/>
              <a:ext cx="2390847" cy="638443"/>
              <a:chOff x="8748868" y="2264581"/>
              <a:chExt cx="2390847" cy="638443"/>
            </a:xfrm>
          </p:grpSpPr>
          <p:sp>
            <p:nvSpPr>
              <p:cNvPr id="72" name="TextBox 71"/>
              <p:cNvSpPr txBox="1"/>
              <p:nvPr/>
            </p:nvSpPr>
            <p:spPr>
              <a:xfrm>
                <a:off x="8748868" y="2264581"/>
                <a:ext cx="239084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等线" panose="02010600030101010101" charset="-122"/>
                  </a:rPr>
                  <a:t>Event number 01</a:t>
                </a:r>
              </a:p>
            </p:txBody>
          </p:sp>
          <p:sp>
            <p:nvSpPr>
              <p:cNvPr id="73" name="TextBox 72"/>
              <p:cNvSpPr txBox="1"/>
              <p:nvPr/>
            </p:nvSpPr>
            <p:spPr>
              <a:xfrm>
                <a:off x="8748868" y="2441359"/>
                <a:ext cx="239084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Sed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ut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perspiciatis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unde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omnis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iste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natus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error sit </a:t>
                </a:r>
              </a:p>
            </p:txBody>
          </p:sp>
        </p:grpSp>
        <p:sp>
          <p:nvSpPr>
            <p:cNvPr id="81" name="Freeform 22"/>
            <p:cNvSpPr>
              <a:spLocks noEditPoints="1"/>
            </p:cNvSpPr>
            <p:nvPr/>
          </p:nvSpPr>
          <p:spPr bwMode="auto">
            <a:xfrm>
              <a:off x="8831778" y="1978640"/>
              <a:ext cx="235441" cy="236201"/>
            </a:xfrm>
            <a:custGeom>
              <a:avLst/>
              <a:gdLst>
                <a:gd name="T0" fmla="*/ 106 w 212"/>
                <a:gd name="T1" fmla="*/ 0 h 212"/>
                <a:gd name="T2" fmla="*/ 0 w 212"/>
                <a:gd name="T3" fmla="*/ 106 h 212"/>
                <a:gd name="T4" fmla="*/ 106 w 212"/>
                <a:gd name="T5" fmla="*/ 212 h 212"/>
                <a:gd name="T6" fmla="*/ 212 w 212"/>
                <a:gd name="T7" fmla="*/ 106 h 212"/>
                <a:gd name="T8" fmla="*/ 106 w 212"/>
                <a:gd name="T9" fmla="*/ 0 h 212"/>
                <a:gd name="T10" fmla="*/ 204 w 212"/>
                <a:gd name="T11" fmla="*/ 106 h 212"/>
                <a:gd name="T12" fmla="*/ 204 w 212"/>
                <a:gd name="T13" fmla="*/ 110 h 212"/>
                <a:gd name="T14" fmla="*/ 200 w 212"/>
                <a:gd name="T15" fmla="*/ 110 h 212"/>
                <a:gd name="T16" fmla="*/ 93 w 212"/>
                <a:gd name="T17" fmla="*/ 9 h 212"/>
                <a:gd name="T18" fmla="*/ 106 w 212"/>
                <a:gd name="T19" fmla="*/ 8 h 212"/>
                <a:gd name="T20" fmla="*/ 204 w 212"/>
                <a:gd name="T21" fmla="*/ 106 h 212"/>
                <a:gd name="T22" fmla="*/ 8 w 212"/>
                <a:gd name="T23" fmla="*/ 106 h 212"/>
                <a:gd name="T24" fmla="*/ 8 w 212"/>
                <a:gd name="T25" fmla="*/ 103 h 212"/>
                <a:gd name="T26" fmla="*/ 10 w 212"/>
                <a:gd name="T27" fmla="*/ 103 h 212"/>
                <a:gd name="T28" fmla="*/ 117 w 212"/>
                <a:gd name="T29" fmla="*/ 203 h 212"/>
                <a:gd name="T30" fmla="*/ 106 w 212"/>
                <a:gd name="T31" fmla="*/ 204 h 212"/>
                <a:gd name="T32" fmla="*/ 8 w 212"/>
                <a:gd name="T33" fmla="*/ 106 h 212"/>
                <a:gd name="T34" fmla="*/ 125 w 212"/>
                <a:gd name="T35" fmla="*/ 202 h 212"/>
                <a:gd name="T36" fmla="*/ 10 w 212"/>
                <a:gd name="T37" fmla="*/ 95 h 212"/>
                <a:gd name="T38" fmla="*/ 9 w 212"/>
                <a:gd name="T39" fmla="*/ 95 h 212"/>
                <a:gd name="T40" fmla="*/ 85 w 212"/>
                <a:gd name="T41" fmla="*/ 10 h 212"/>
                <a:gd name="T42" fmla="*/ 200 w 212"/>
                <a:gd name="T43" fmla="*/ 118 h 212"/>
                <a:gd name="T44" fmla="*/ 203 w 212"/>
                <a:gd name="T45" fmla="*/ 118 h 212"/>
                <a:gd name="T46" fmla="*/ 125 w 212"/>
                <a:gd name="T47" fmla="*/ 202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1" h="211">
                  <a:moveTo>
                    <a:pt x="106" y="0"/>
                  </a:moveTo>
                  <a:cubicBezTo>
                    <a:pt x="48" y="0"/>
                    <a:pt x="0" y="47"/>
                    <a:pt x="0" y="106"/>
                  </a:cubicBezTo>
                  <a:cubicBezTo>
                    <a:pt x="0" y="164"/>
                    <a:pt x="48" y="212"/>
                    <a:pt x="106" y="212"/>
                  </a:cubicBezTo>
                  <a:cubicBezTo>
                    <a:pt x="164" y="212"/>
                    <a:pt x="212" y="164"/>
                    <a:pt x="212" y="106"/>
                  </a:cubicBezTo>
                  <a:cubicBezTo>
                    <a:pt x="212" y="47"/>
                    <a:pt x="164" y="0"/>
                    <a:pt x="106" y="0"/>
                  </a:cubicBezTo>
                  <a:close/>
                  <a:moveTo>
                    <a:pt x="204" y="106"/>
                  </a:moveTo>
                  <a:cubicBezTo>
                    <a:pt x="204" y="107"/>
                    <a:pt x="204" y="109"/>
                    <a:pt x="204" y="110"/>
                  </a:cubicBezTo>
                  <a:cubicBezTo>
                    <a:pt x="202" y="110"/>
                    <a:pt x="201" y="110"/>
                    <a:pt x="200" y="110"/>
                  </a:cubicBezTo>
                  <a:cubicBezTo>
                    <a:pt x="142" y="110"/>
                    <a:pt x="96" y="66"/>
                    <a:pt x="93" y="9"/>
                  </a:cubicBezTo>
                  <a:cubicBezTo>
                    <a:pt x="97" y="8"/>
                    <a:pt x="102" y="8"/>
                    <a:pt x="106" y="8"/>
                  </a:cubicBezTo>
                  <a:cubicBezTo>
                    <a:pt x="160" y="8"/>
                    <a:pt x="204" y="52"/>
                    <a:pt x="204" y="106"/>
                  </a:cubicBezTo>
                  <a:close/>
                  <a:moveTo>
                    <a:pt x="8" y="106"/>
                  </a:moveTo>
                  <a:cubicBezTo>
                    <a:pt x="8" y="105"/>
                    <a:pt x="8" y="104"/>
                    <a:pt x="8" y="103"/>
                  </a:cubicBezTo>
                  <a:cubicBezTo>
                    <a:pt x="9" y="103"/>
                    <a:pt x="10" y="103"/>
                    <a:pt x="10" y="103"/>
                  </a:cubicBezTo>
                  <a:cubicBezTo>
                    <a:pt x="67" y="103"/>
                    <a:pt x="114" y="147"/>
                    <a:pt x="117" y="203"/>
                  </a:cubicBezTo>
                  <a:cubicBezTo>
                    <a:pt x="113" y="204"/>
                    <a:pt x="110" y="204"/>
                    <a:pt x="106" y="204"/>
                  </a:cubicBezTo>
                  <a:cubicBezTo>
                    <a:pt x="52" y="204"/>
                    <a:pt x="8" y="160"/>
                    <a:pt x="8" y="106"/>
                  </a:cubicBezTo>
                  <a:close/>
                  <a:moveTo>
                    <a:pt x="125" y="202"/>
                  </a:moveTo>
                  <a:cubicBezTo>
                    <a:pt x="121" y="142"/>
                    <a:pt x="71" y="95"/>
                    <a:pt x="10" y="95"/>
                  </a:cubicBezTo>
                  <a:cubicBezTo>
                    <a:pt x="10" y="95"/>
                    <a:pt x="9" y="95"/>
                    <a:pt x="9" y="95"/>
                  </a:cubicBezTo>
                  <a:cubicBezTo>
                    <a:pt x="13" y="53"/>
                    <a:pt x="44" y="19"/>
                    <a:pt x="85" y="10"/>
                  </a:cubicBezTo>
                  <a:cubicBezTo>
                    <a:pt x="88" y="71"/>
                    <a:pt x="138" y="118"/>
                    <a:pt x="200" y="118"/>
                  </a:cubicBezTo>
                  <a:cubicBezTo>
                    <a:pt x="201" y="118"/>
                    <a:pt x="202" y="118"/>
                    <a:pt x="203" y="118"/>
                  </a:cubicBezTo>
                  <a:cubicBezTo>
                    <a:pt x="198" y="160"/>
                    <a:pt x="166" y="194"/>
                    <a:pt x="125" y="20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85" name="Group 8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748868" y="2963343"/>
            <a:ext cx="2390847" cy="880930"/>
            <a:chOff x="8748868" y="3113246"/>
            <a:chExt cx="2390847" cy="880930"/>
          </a:xfrm>
        </p:grpSpPr>
        <p:grpSp>
          <p:nvGrpSpPr>
            <p:cNvPr id="75" name="Group 74"/>
            <p:cNvGrpSpPr/>
            <p:nvPr/>
          </p:nvGrpSpPr>
          <p:grpSpPr>
            <a:xfrm>
              <a:off x="8748868" y="3355733"/>
              <a:ext cx="2390847" cy="638443"/>
              <a:chOff x="8748868" y="2264581"/>
              <a:chExt cx="2390847" cy="638443"/>
            </a:xfrm>
          </p:grpSpPr>
          <p:sp>
            <p:nvSpPr>
              <p:cNvPr id="76" name="TextBox 75"/>
              <p:cNvSpPr txBox="1"/>
              <p:nvPr/>
            </p:nvSpPr>
            <p:spPr>
              <a:xfrm>
                <a:off x="8748868" y="2264581"/>
                <a:ext cx="239084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cs typeface="等线" panose="02010600030101010101" charset="-122"/>
                  </a:rPr>
                  <a:t>Event number 02</a:t>
                </a:r>
              </a:p>
            </p:txBody>
          </p:sp>
          <p:sp>
            <p:nvSpPr>
              <p:cNvPr id="77" name="TextBox 76"/>
              <p:cNvSpPr txBox="1"/>
              <p:nvPr/>
            </p:nvSpPr>
            <p:spPr>
              <a:xfrm>
                <a:off x="8748868" y="2441359"/>
                <a:ext cx="239084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Sed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ut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perspiciatis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unde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omnis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iste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natus</a:t>
                </a:r>
                <a:r>
                  <a:rPr lang="en-US" sz="12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cs typeface="等线" panose="02010600030101010101" charset="-122"/>
                  </a:rPr>
                  <a:t> error sit </a:t>
                </a:r>
              </a:p>
            </p:txBody>
          </p:sp>
        </p:grpSp>
        <p:sp>
          <p:nvSpPr>
            <p:cNvPr id="82" name="Freeform 26"/>
            <p:cNvSpPr>
              <a:spLocks noEditPoints="1"/>
            </p:cNvSpPr>
            <p:nvPr/>
          </p:nvSpPr>
          <p:spPr bwMode="auto">
            <a:xfrm>
              <a:off x="8845271" y="3113246"/>
              <a:ext cx="222530" cy="240758"/>
            </a:xfrm>
            <a:custGeom>
              <a:avLst/>
              <a:gdLst>
                <a:gd name="T0" fmla="*/ 134 w 200"/>
                <a:gd name="T1" fmla="*/ 184 h 216"/>
                <a:gd name="T2" fmla="*/ 66 w 200"/>
                <a:gd name="T3" fmla="*/ 152 h 216"/>
                <a:gd name="T4" fmla="*/ 74 w 200"/>
                <a:gd name="T5" fmla="*/ 160 h 216"/>
                <a:gd name="T6" fmla="*/ 126 w 200"/>
                <a:gd name="T7" fmla="*/ 176 h 216"/>
                <a:gd name="T8" fmla="*/ 74 w 200"/>
                <a:gd name="T9" fmla="*/ 160 h 216"/>
                <a:gd name="T10" fmla="*/ 198 w 200"/>
                <a:gd name="T11" fmla="*/ 16 h 216"/>
                <a:gd name="T12" fmla="*/ 166 w 200"/>
                <a:gd name="T13" fmla="*/ 4 h 216"/>
                <a:gd name="T14" fmla="*/ 34 w 200"/>
                <a:gd name="T15" fmla="*/ 0 h 216"/>
                <a:gd name="T16" fmla="*/ 35 w 200"/>
                <a:gd name="T17" fmla="*/ 16 h 216"/>
                <a:gd name="T18" fmla="*/ 2 w 200"/>
                <a:gd name="T19" fmla="*/ 20 h 216"/>
                <a:gd name="T20" fmla="*/ 58 w 200"/>
                <a:gd name="T21" fmla="*/ 84 h 216"/>
                <a:gd name="T22" fmla="*/ 24 w 200"/>
                <a:gd name="T23" fmla="*/ 63 h 216"/>
                <a:gd name="T24" fmla="*/ 36 w 200"/>
                <a:gd name="T25" fmla="*/ 24 h 216"/>
                <a:gd name="T26" fmla="*/ 83 w 200"/>
                <a:gd name="T27" fmla="*/ 108 h 216"/>
                <a:gd name="T28" fmla="*/ 46 w 200"/>
                <a:gd name="T29" fmla="*/ 132 h 216"/>
                <a:gd name="T30" fmla="*/ 154 w 200"/>
                <a:gd name="T31" fmla="*/ 204 h 216"/>
                <a:gd name="T32" fmla="*/ 121 w 200"/>
                <a:gd name="T33" fmla="*/ 132 h 216"/>
                <a:gd name="T34" fmla="*/ 132 w 200"/>
                <a:gd name="T35" fmla="*/ 91 h 216"/>
                <a:gd name="T36" fmla="*/ 142 w 200"/>
                <a:gd name="T37" fmla="*/ 84 h 216"/>
                <a:gd name="T38" fmla="*/ 198 w 200"/>
                <a:gd name="T39" fmla="*/ 20 h 216"/>
                <a:gd name="T40" fmla="*/ 115 w 200"/>
                <a:gd name="T41" fmla="*/ 102 h 216"/>
                <a:gd name="T42" fmla="*/ 115 w 200"/>
                <a:gd name="T43" fmla="*/ 140 h 216"/>
                <a:gd name="T44" fmla="*/ 146 w 200"/>
                <a:gd name="T45" fmla="*/ 196 h 216"/>
                <a:gd name="T46" fmla="*/ 54 w 200"/>
                <a:gd name="T47" fmla="*/ 140 h 216"/>
                <a:gd name="T48" fmla="*/ 90 w 200"/>
                <a:gd name="T49" fmla="*/ 137 h 216"/>
                <a:gd name="T50" fmla="*/ 78 w 200"/>
                <a:gd name="T51" fmla="*/ 89 h 216"/>
                <a:gd name="T52" fmla="*/ 158 w 200"/>
                <a:gd name="T53" fmla="*/ 8 h 216"/>
                <a:gd name="T54" fmla="*/ 176 w 200"/>
                <a:gd name="T55" fmla="*/ 63 h 216"/>
                <a:gd name="T56" fmla="*/ 164 w 200"/>
                <a:gd name="T57" fmla="*/ 24 h 216"/>
                <a:gd name="T58" fmla="*/ 176 w 200"/>
                <a:gd name="T59" fmla="*/ 63 h 216"/>
                <a:gd name="T60" fmla="*/ 174 w 200"/>
                <a:gd name="T61" fmla="*/ 216 h 216"/>
                <a:gd name="T62" fmla="*/ 26 w 200"/>
                <a:gd name="T63" fmla="*/ 20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0" h="216">
                  <a:moveTo>
                    <a:pt x="66" y="184"/>
                  </a:moveTo>
                  <a:cubicBezTo>
                    <a:pt x="134" y="184"/>
                    <a:pt x="134" y="184"/>
                    <a:pt x="134" y="184"/>
                  </a:cubicBezTo>
                  <a:cubicBezTo>
                    <a:pt x="134" y="152"/>
                    <a:pt x="134" y="152"/>
                    <a:pt x="134" y="152"/>
                  </a:cubicBezTo>
                  <a:cubicBezTo>
                    <a:pt x="66" y="152"/>
                    <a:pt x="66" y="152"/>
                    <a:pt x="66" y="152"/>
                  </a:cubicBezTo>
                  <a:lnTo>
                    <a:pt x="66" y="184"/>
                  </a:lnTo>
                  <a:close/>
                  <a:moveTo>
                    <a:pt x="74" y="160"/>
                  </a:moveTo>
                  <a:cubicBezTo>
                    <a:pt x="126" y="160"/>
                    <a:pt x="126" y="160"/>
                    <a:pt x="126" y="160"/>
                  </a:cubicBezTo>
                  <a:cubicBezTo>
                    <a:pt x="126" y="176"/>
                    <a:pt x="126" y="176"/>
                    <a:pt x="126" y="176"/>
                  </a:cubicBezTo>
                  <a:cubicBezTo>
                    <a:pt x="74" y="176"/>
                    <a:pt x="74" y="176"/>
                    <a:pt x="74" y="176"/>
                  </a:cubicBezTo>
                  <a:lnTo>
                    <a:pt x="74" y="160"/>
                  </a:lnTo>
                  <a:close/>
                  <a:moveTo>
                    <a:pt x="198" y="20"/>
                  </a:moveTo>
                  <a:cubicBezTo>
                    <a:pt x="198" y="16"/>
                    <a:pt x="198" y="16"/>
                    <a:pt x="198" y="16"/>
                  </a:cubicBezTo>
                  <a:cubicBezTo>
                    <a:pt x="165" y="16"/>
                    <a:pt x="165" y="16"/>
                    <a:pt x="165" y="16"/>
                  </a:cubicBezTo>
                  <a:cubicBezTo>
                    <a:pt x="166" y="12"/>
                    <a:pt x="166" y="8"/>
                    <a:pt x="166" y="4"/>
                  </a:cubicBezTo>
                  <a:cubicBezTo>
                    <a:pt x="166" y="0"/>
                    <a:pt x="166" y="0"/>
                    <a:pt x="166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4" y="8"/>
                    <a:pt x="34" y="12"/>
                    <a:pt x="35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21"/>
                    <a:pt x="0" y="50"/>
                    <a:pt x="18" y="68"/>
                  </a:cubicBezTo>
                  <a:cubicBezTo>
                    <a:pt x="28" y="79"/>
                    <a:pt x="42" y="84"/>
                    <a:pt x="58" y="84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42" y="76"/>
                    <a:pt x="32" y="72"/>
                    <a:pt x="24" y="63"/>
                  </a:cubicBezTo>
                  <a:cubicBezTo>
                    <a:pt x="12" y="50"/>
                    <a:pt x="10" y="32"/>
                    <a:pt x="10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42" y="55"/>
                    <a:pt x="58" y="76"/>
                    <a:pt x="72" y="94"/>
                  </a:cubicBezTo>
                  <a:cubicBezTo>
                    <a:pt x="76" y="99"/>
                    <a:pt x="80" y="104"/>
                    <a:pt x="83" y="108"/>
                  </a:cubicBezTo>
                  <a:cubicBezTo>
                    <a:pt x="84" y="111"/>
                    <a:pt x="84" y="122"/>
                    <a:pt x="83" y="132"/>
                  </a:cubicBezTo>
                  <a:cubicBezTo>
                    <a:pt x="46" y="132"/>
                    <a:pt x="46" y="132"/>
                    <a:pt x="46" y="132"/>
                  </a:cubicBezTo>
                  <a:cubicBezTo>
                    <a:pt x="46" y="204"/>
                    <a:pt x="46" y="204"/>
                    <a:pt x="46" y="204"/>
                  </a:cubicBezTo>
                  <a:cubicBezTo>
                    <a:pt x="154" y="204"/>
                    <a:pt x="154" y="204"/>
                    <a:pt x="154" y="204"/>
                  </a:cubicBezTo>
                  <a:cubicBezTo>
                    <a:pt x="154" y="132"/>
                    <a:pt x="154" y="132"/>
                    <a:pt x="154" y="132"/>
                  </a:cubicBezTo>
                  <a:cubicBezTo>
                    <a:pt x="121" y="132"/>
                    <a:pt x="121" y="132"/>
                    <a:pt x="121" y="132"/>
                  </a:cubicBezTo>
                  <a:cubicBezTo>
                    <a:pt x="120" y="121"/>
                    <a:pt x="120" y="110"/>
                    <a:pt x="121" y="106"/>
                  </a:cubicBezTo>
                  <a:cubicBezTo>
                    <a:pt x="124" y="102"/>
                    <a:pt x="128" y="97"/>
                    <a:pt x="132" y="91"/>
                  </a:cubicBezTo>
                  <a:cubicBezTo>
                    <a:pt x="135" y="86"/>
                    <a:pt x="139" y="81"/>
                    <a:pt x="142" y="76"/>
                  </a:cubicBezTo>
                  <a:cubicBezTo>
                    <a:pt x="142" y="84"/>
                    <a:pt x="142" y="84"/>
                    <a:pt x="142" y="84"/>
                  </a:cubicBezTo>
                  <a:cubicBezTo>
                    <a:pt x="159" y="84"/>
                    <a:pt x="173" y="79"/>
                    <a:pt x="182" y="68"/>
                  </a:cubicBezTo>
                  <a:cubicBezTo>
                    <a:pt x="200" y="50"/>
                    <a:pt x="198" y="21"/>
                    <a:pt x="198" y="20"/>
                  </a:cubicBezTo>
                  <a:close/>
                  <a:moveTo>
                    <a:pt x="125" y="86"/>
                  </a:moveTo>
                  <a:cubicBezTo>
                    <a:pt x="121" y="92"/>
                    <a:pt x="118" y="97"/>
                    <a:pt x="115" y="102"/>
                  </a:cubicBezTo>
                  <a:cubicBezTo>
                    <a:pt x="110" y="110"/>
                    <a:pt x="113" y="132"/>
                    <a:pt x="114" y="137"/>
                  </a:cubicBezTo>
                  <a:cubicBezTo>
                    <a:pt x="115" y="140"/>
                    <a:pt x="115" y="140"/>
                    <a:pt x="115" y="140"/>
                  </a:cubicBezTo>
                  <a:cubicBezTo>
                    <a:pt x="146" y="140"/>
                    <a:pt x="146" y="140"/>
                    <a:pt x="146" y="140"/>
                  </a:cubicBezTo>
                  <a:cubicBezTo>
                    <a:pt x="146" y="196"/>
                    <a:pt x="146" y="196"/>
                    <a:pt x="146" y="196"/>
                  </a:cubicBezTo>
                  <a:cubicBezTo>
                    <a:pt x="54" y="196"/>
                    <a:pt x="54" y="196"/>
                    <a:pt x="54" y="196"/>
                  </a:cubicBezTo>
                  <a:cubicBezTo>
                    <a:pt x="54" y="140"/>
                    <a:pt x="54" y="140"/>
                    <a:pt x="54" y="140"/>
                  </a:cubicBezTo>
                  <a:cubicBezTo>
                    <a:pt x="89" y="140"/>
                    <a:pt x="89" y="140"/>
                    <a:pt x="89" y="140"/>
                  </a:cubicBezTo>
                  <a:cubicBezTo>
                    <a:pt x="90" y="137"/>
                    <a:pt x="90" y="137"/>
                    <a:pt x="90" y="137"/>
                  </a:cubicBezTo>
                  <a:cubicBezTo>
                    <a:pt x="91" y="131"/>
                    <a:pt x="94" y="111"/>
                    <a:pt x="89" y="104"/>
                  </a:cubicBezTo>
                  <a:cubicBezTo>
                    <a:pt x="86" y="99"/>
                    <a:pt x="82" y="94"/>
                    <a:pt x="78" y="89"/>
                  </a:cubicBezTo>
                  <a:cubicBezTo>
                    <a:pt x="63" y="70"/>
                    <a:pt x="44" y="45"/>
                    <a:pt x="42" y="8"/>
                  </a:cubicBezTo>
                  <a:cubicBezTo>
                    <a:pt x="158" y="8"/>
                    <a:pt x="158" y="8"/>
                    <a:pt x="158" y="8"/>
                  </a:cubicBezTo>
                  <a:cubicBezTo>
                    <a:pt x="156" y="43"/>
                    <a:pt x="139" y="67"/>
                    <a:pt x="125" y="86"/>
                  </a:cubicBezTo>
                  <a:close/>
                  <a:moveTo>
                    <a:pt x="176" y="63"/>
                  </a:moveTo>
                  <a:cubicBezTo>
                    <a:pt x="168" y="72"/>
                    <a:pt x="157" y="76"/>
                    <a:pt x="142" y="76"/>
                  </a:cubicBezTo>
                  <a:cubicBezTo>
                    <a:pt x="151" y="62"/>
                    <a:pt x="160" y="45"/>
                    <a:pt x="164" y="24"/>
                  </a:cubicBezTo>
                  <a:cubicBezTo>
                    <a:pt x="190" y="24"/>
                    <a:pt x="190" y="24"/>
                    <a:pt x="190" y="24"/>
                  </a:cubicBezTo>
                  <a:cubicBezTo>
                    <a:pt x="190" y="32"/>
                    <a:pt x="188" y="50"/>
                    <a:pt x="176" y="63"/>
                  </a:cubicBezTo>
                  <a:close/>
                  <a:moveTo>
                    <a:pt x="26" y="216"/>
                  </a:moveTo>
                  <a:cubicBezTo>
                    <a:pt x="174" y="216"/>
                    <a:pt x="174" y="216"/>
                    <a:pt x="174" y="216"/>
                  </a:cubicBezTo>
                  <a:cubicBezTo>
                    <a:pt x="174" y="208"/>
                    <a:pt x="174" y="208"/>
                    <a:pt x="174" y="208"/>
                  </a:cubicBezTo>
                  <a:cubicBezTo>
                    <a:pt x="26" y="208"/>
                    <a:pt x="26" y="208"/>
                    <a:pt x="26" y="208"/>
                  </a:cubicBezTo>
                  <a:lnTo>
                    <a:pt x="26" y="21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84" name="Group 8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748868" y="4142945"/>
            <a:ext cx="2390847" cy="839998"/>
            <a:chOff x="8748868" y="4292848"/>
            <a:chExt cx="2390847" cy="839998"/>
          </a:xfrm>
        </p:grpSpPr>
        <p:grpSp>
          <p:nvGrpSpPr>
            <p:cNvPr id="78" name="Group 77"/>
            <p:cNvGrpSpPr/>
            <p:nvPr/>
          </p:nvGrpSpPr>
          <p:grpSpPr>
            <a:xfrm>
              <a:off x="8748868" y="4494403"/>
              <a:ext cx="2390847" cy="638443"/>
              <a:chOff x="8748868" y="2264581"/>
              <a:chExt cx="2390847" cy="638443"/>
            </a:xfrm>
          </p:grpSpPr>
          <p:sp>
            <p:nvSpPr>
              <p:cNvPr id="79" name="TextBox 78"/>
              <p:cNvSpPr txBox="1"/>
              <p:nvPr/>
            </p:nvSpPr>
            <p:spPr>
              <a:xfrm>
                <a:off x="8748868" y="2264581"/>
                <a:ext cx="2390847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>
                    <a:solidFill>
                      <a:schemeClr val="bg1">
                        <a:lumMod val="65000"/>
                      </a:schemeClr>
                    </a:solidFill>
                    <a:latin typeface="+mj-lt"/>
                    <a:cs typeface="等线" panose="02010600030101010101" charset="-122"/>
                  </a:rPr>
                  <a:t>Event number 03</a:t>
                </a: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8748868" y="2441359"/>
                <a:ext cx="239084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Sed </a:t>
                </a:r>
                <a:r>
                  <a:rPr lang="en-US" sz="1200" dirty="0" err="1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ut</a:t>
                </a:r>
                <a:r>
                  <a:rPr lang="en-US" sz="1200" dirty="0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perspiciatis</a:t>
                </a:r>
                <a:r>
                  <a:rPr lang="en-US" sz="1200" dirty="0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unde</a:t>
                </a:r>
                <a:r>
                  <a:rPr lang="en-US" sz="1200" dirty="0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omnis</a:t>
                </a:r>
                <a:r>
                  <a:rPr lang="en-US" sz="1200" dirty="0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iste</a:t>
                </a:r>
                <a:r>
                  <a:rPr lang="en-US" sz="1200" dirty="0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 </a:t>
                </a:r>
                <a:r>
                  <a:rPr lang="en-US" sz="1200" dirty="0" err="1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natus</a:t>
                </a:r>
                <a:r>
                  <a:rPr lang="en-US" sz="1200" dirty="0">
                    <a:solidFill>
                      <a:schemeClr val="bg1">
                        <a:lumMod val="65000"/>
                      </a:schemeClr>
                    </a:solidFill>
                    <a:cs typeface="等线" panose="02010600030101010101" charset="-122"/>
                  </a:rPr>
                  <a:t> error sit </a:t>
                </a:r>
              </a:p>
            </p:txBody>
          </p:sp>
        </p:grpSp>
        <p:sp>
          <p:nvSpPr>
            <p:cNvPr id="83" name="Freeform 29"/>
            <p:cNvSpPr>
              <a:spLocks noEditPoints="1"/>
            </p:cNvSpPr>
            <p:nvPr/>
          </p:nvSpPr>
          <p:spPr bwMode="auto">
            <a:xfrm>
              <a:off x="8842889" y="4292848"/>
              <a:ext cx="224808" cy="208859"/>
            </a:xfrm>
            <a:custGeom>
              <a:avLst/>
              <a:gdLst>
                <a:gd name="T0" fmla="*/ 153 w 202"/>
                <a:gd name="T1" fmla="*/ 65 h 188"/>
                <a:gd name="T2" fmla="*/ 144 w 202"/>
                <a:gd name="T3" fmla="*/ 76 h 188"/>
                <a:gd name="T4" fmla="*/ 135 w 202"/>
                <a:gd name="T5" fmla="*/ 66 h 188"/>
                <a:gd name="T6" fmla="*/ 144 w 202"/>
                <a:gd name="T7" fmla="*/ 56 h 188"/>
                <a:gd name="T8" fmla="*/ 138 w 202"/>
                <a:gd name="T9" fmla="*/ 51 h 188"/>
                <a:gd name="T10" fmla="*/ 130 w 202"/>
                <a:gd name="T11" fmla="*/ 61 h 188"/>
                <a:gd name="T12" fmla="*/ 116 w 202"/>
                <a:gd name="T13" fmla="*/ 51 h 188"/>
                <a:gd name="T14" fmla="*/ 124 w 202"/>
                <a:gd name="T15" fmla="*/ 41 h 188"/>
                <a:gd name="T16" fmla="*/ 118 w 202"/>
                <a:gd name="T17" fmla="*/ 36 h 188"/>
                <a:gd name="T18" fmla="*/ 109 w 202"/>
                <a:gd name="T19" fmla="*/ 47 h 188"/>
                <a:gd name="T20" fmla="*/ 93 w 202"/>
                <a:gd name="T21" fmla="*/ 39 h 188"/>
                <a:gd name="T22" fmla="*/ 90 w 202"/>
                <a:gd name="T23" fmla="*/ 47 h 188"/>
                <a:gd name="T24" fmla="*/ 104 w 202"/>
                <a:gd name="T25" fmla="*/ 53 h 188"/>
                <a:gd name="T26" fmla="*/ 93 w 202"/>
                <a:gd name="T27" fmla="*/ 66 h 188"/>
                <a:gd name="T28" fmla="*/ 100 w 202"/>
                <a:gd name="T29" fmla="*/ 71 h 188"/>
                <a:gd name="T30" fmla="*/ 111 w 202"/>
                <a:gd name="T31" fmla="*/ 57 h 188"/>
                <a:gd name="T32" fmla="*/ 124 w 202"/>
                <a:gd name="T33" fmla="*/ 67 h 188"/>
                <a:gd name="T34" fmla="*/ 113 w 202"/>
                <a:gd name="T35" fmla="*/ 80 h 188"/>
                <a:gd name="T36" fmla="*/ 119 w 202"/>
                <a:gd name="T37" fmla="*/ 86 h 188"/>
                <a:gd name="T38" fmla="*/ 130 w 202"/>
                <a:gd name="T39" fmla="*/ 73 h 188"/>
                <a:gd name="T40" fmla="*/ 139 w 202"/>
                <a:gd name="T41" fmla="*/ 83 h 188"/>
                <a:gd name="T42" fmla="*/ 128 w 202"/>
                <a:gd name="T43" fmla="*/ 95 h 188"/>
                <a:gd name="T44" fmla="*/ 134 w 202"/>
                <a:gd name="T45" fmla="*/ 100 h 188"/>
                <a:gd name="T46" fmla="*/ 143 w 202"/>
                <a:gd name="T47" fmla="*/ 90 h 188"/>
                <a:gd name="T48" fmla="*/ 147 w 202"/>
                <a:gd name="T49" fmla="*/ 99 h 188"/>
                <a:gd name="T50" fmla="*/ 155 w 202"/>
                <a:gd name="T51" fmla="*/ 97 h 188"/>
                <a:gd name="T52" fmla="*/ 149 w 202"/>
                <a:gd name="T53" fmla="*/ 83 h 188"/>
                <a:gd name="T54" fmla="*/ 159 w 202"/>
                <a:gd name="T55" fmla="*/ 71 h 188"/>
                <a:gd name="T56" fmla="*/ 153 w 202"/>
                <a:gd name="T57" fmla="*/ 65 h 188"/>
                <a:gd name="T58" fmla="*/ 197 w 202"/>
                <a:gd name="T59" fmla="*/ 115 h 188"/>
                <a:gd name="T60" fmla="*/ 156 w 202"/>
                <a:gd name="T61" fmla="*/ 38 h 188"/>
                <a:gd name="T62" fmla="*/ 54 w 202"/>
                <a:gd name="T63" fmla="*/ 0 h 188"/>
                <a:gd name="T64" fmla="*/ 17 w 202"/>
                <a:gd name="T65" fmla="*/ 8 h 188"/>
                <a:gd name="T66" fmla="*/ 46 w 202"/>
                <a:gd name="T67" fmla="*/ 147 h 188"/>
                <a:gd name="T68" fmla="*/ 146 w 202"/>
                <a:gd name="T69" fmla="*/ 188 h 188"/>
                <a:gd name="T70" fmla="*/ 185 w 202"/>
                <a:gd name="T71" fmla="*/ 177 h 188"/>
                <a:gd name="T72" fmla="*/ 197 w 202"/>
                <a:gd name="T73" fmla="*/ 115 h 188"/>
                <a:gd name="T74" fmla="*/ 180 w 202"/>
                <a:gd name="T75" fmla="*/ 171 h 188"/>
                <a:gd name="T76" fmla="*/ 146 w 202"/>
                <a:gd name="T77" fmla="*/ 180 h 188"/>
                <a:gd name="T78" fmla="*/ 52 w 202"/>
                <a:gd name="T79" fmla="*/ 141 h 188"/>
                <a:gd name="T80" fmla="*/ 22 w 202"/>
                <a:gd name="T81" fmla="*/ 14 h 188"/>
                <a:gd name="T82" fmla="*/ 54 w 202"/>
                <a:gd name="T83" fmla="*/ 8 h 188"/>
                <a:gd name="T84" fmla="*/ 150 w 202"/>
                <a:gd name="T85" fmla="*/ 43 h 188"/>
                <a:gd name="T86" fmla="*/ 189 w 202"/>
                <a:gd name="T87" fmla="*/ 116 h 188"/>
                <a:gd name="T88" fmla="*/ 180 w 202"/>
                <a:gd name="T89" fmla="*/ 171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1" h="188">
                  <a:moveTo>
                    <a:pt x="153" y="65"/>
                  </a:moveTo>
                  <a:cubicBezTo>
                    <a:pt x="144" y="76"/>
                    <a:pt x="144" y="76"/>
                    <a:pt x="144" y="76"/>
                  </a:cubicBezTo>
                  <a:cubicBezTo>
                    <a:pt x="141" y="73"/>
                    <a:pt x="138" y="70"/>
                    <a:pt x="135" y="66"/>
                  </a:cubicBezTo>
                  <a:cubicBezTo>
                    <a:pt x="144" y="56"/>
                    <a:pt x="144" y="56"/>
                    <a:pt x="144" y="56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25" y="57"/>
                    <a:pt x="120" y="54"/>
                    <a:pt x="116" y="51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00" y="42"/>
                    <a:pt x="94" y="40"/>
                    <a:pt x="93" y="39"/>
                  </a:cubicBezTo>
                  <a:cubicBezTo>
                    <a:pt x="90" y="47"/>
                    <a:pt x="90" y="47"/>
                    <a:pt x="90" y="47"/>
                  </a:cubicBezTo>
                  <a:cubicBezTo>
                    <a:pt x="90" y="47"/>
                    <a:pt x="96" y="49"/>
                    <a:pt x="104" y="53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100" y="71"/>
                    <a:pt x="100" y="71"/>
                    <a:pt x="100" y="71"/>
                  </a:cubicBezTo>
                  <a:cubicBezTo>
                    <a:pt x="111" y="57"/>
                    <a:pt x="111" y="57"/>
                    <a:pt x="111" y="57"/>
                  </a:cubicBezTo>
                  <a:cubicBezTo>
                    <a:pt x="115" y="60"/>
                    <a:pt x="120" y="63"/>
                    <a:pt x="124" y="67"/>
                  </a:cubicBezTo>
                  <a:cubicBezTo>
                    <a:pt x="113" y="80"/>
                    <a:pt x="113" y="80"/>
                    <a:pt x="113" y="80"/>
                  </a:cubicBezTo>
                  <a:cubicBezTo>
                    <a:pt x="119" y="86"/>
                    <a:pt x="119" y="86"/>
                    <a:pt x="119" y="86"/>
                  </a:cubicBezTo>
                  <a:cubicBezTo>
                    <a:pt x="130" y="73"/>
                    <a:pt x="130" y="73"/>
                    <a:pt x="130" y="73"/>
                  </a:cubicBezTo>
                  <a:cubicBezTo>
                    <a:pt x="133" y="76"/>
                    <a:pt x="136" y="79"/>
                    <a:pt x="139" y="83"/>
                  </a:cubicBezTo>
                  <a:cubicBezTo>
                    <a:pt x="128" y="95"/>
                    <a:pt x="128" y="95"/>
                    <a:pt x="128" y="95"/>
                  </a:cubicBezTo>
                  <a:cubicBezTo>
                    <a:pt x="134" y="100"/>
                    <a:pt x="134" y="100"/>
                    <a:pt x="134" y="100"/>
                  </a:cubicBezTo>
                  <a:cubicBezTo>
                    <a:pt x="143" y="90"/>
                    <a:pt x="143" y="90"/>
                    <a:pt x="143" y="90"/>
                  </a:cubicBezTo>
                  <a:cubicBezTo>
                    <a:pt x="145" y="93"/>
                    <a:pt x="146" y="96"/>
                    <a:pt x="147" y="99"/>
                  </a:cubicBezTo>
                  <a:cubicBezTo>
                    <a:pt x="155" y="97"/>
                    <a:pt x="155" y="97"/>
                    <a:pt x="155" y="97"/>
                  </a:cubicBezTo>
                  <a:cubicBezTo>
                    <a:pt x="153" y="92"/>
                    <a:pt x="151" y="87"/>
                    <a:pt x="149" y="83"/>
                  </a:cubicBezTo>
                  <a:cubicBezTo>
                    <a:pt x="159" y="71"/>
                    <a:pt x="159" y="71"/>
                    <a:pt x="159" y="71"/>
                  </a:cubicBezTo>
                  <a:lnTo>
                    <a:pt x="153" y="65"/>
                  </a:lnTo>
                  <a:close/>
                  <a:moveTo>
                    <a:pt x="197" y="115"/>
                  </a:moveTo>
                  <a:cubicBezTo>
                    <a:pt x="192" y="87"/>
                    <a:pt x="177" y="59"/>
                    <a:pt x="156" y="38"/>
                  </a:cubicBezTo>
                  <a:cubicBezTo>
                    <a:pt x="120" y="2"/>
                    <a:pt x="69" y="0"/>
                    <a:pt x="54" y="0"/>
                  </a:cubicBezTo>
                  <a:cubicBezTo>
                    <a:pt x="40" y="0"/>
                    <a:pt x="23" y="2"/>
                    <a:pt x="17" y="8"/>
                  </a:cubicBezTo>
                  <a:cubicBezTo>
                    <a:pt x="3" y="21"/>
                    <a:pt x="0" y="101"/>
                    <a:pt x="46" y="147"/>
                  </a:cubicBezTo>
                  <a:cubicBezTo>
                    <a:pt x="77" y="177"/>
                    <a:pt x="118" y="188"/>
                    <a:pt x="146" y="188"/>
                  </a:cubicBezTo>
                  <a:cubicBezTo>
                    <a:pt x="164" y="188"/>
                    <a:pt x="178" y="184"/>
                    <a:pt x="185" y="177"/>
                  </a:cubicBezTo>
                  <a:cubicBezTo>
                    <a:pt x="198" y="164"/>
                    <a:pt x="202" y="141"/>
                    <a:pt x="197" y="115"/>
                  </a:cubicBezTo>
                  <a:close/>
                  <a:moveTo>
                    <a:pt x="180" y="171"/>
                  </a:moveTo>
                  <a:cubicBezTo>
                    <a:pt x="174" y="177"/>
                    <a:pt x="162" y="180"/>
                    <a:pt x="146" y="180"/>
                  </a:cubicBezTo>
                  <a:cubicBezTo>
                    <a:pt x="119" y="180"/>
                    <a:pt x="81" y="170"/>
                    <a:pt x="52" y="141"/>
                  </a:cubicBezTo>
                  <a:cubicBezTo>
                    <a:pt x="9" y="98"/>
                    <a:pt x="13" y="23"/>
                    <a:pt x="22" y="14"/>
                  </a:cubicBezTo>
                  <a:cubicBezTo>
                    <a:pt x="25" y="11"/>
                    <a:pt x="36" y="8"/>
                    <a:pt x="54" y="8"/>
                  </a:cubicBezTo>
                  <a:cubicBezTo>
                    <a:pt x="68" y="8"/>
                    <a:pt x="117" y="10"/>
                    <a:pt x="150" y="43"/>
                  </a:cubicBezTo>
                  <a:cubicBezTo>
                    <a:pt x="170" y="64"/>
                    <a:pt x="184" y="90"/>
                    <a:pt x="189" y="116"/>
                  </a:cubicBezTo>
                  <a:cubicBezTo>
                    <a:pt x="194" y="140"/>
                    <a:pt x="190" y="160"/>
                    <a:pt x="180" y="17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等线" panose="02010600030101010101" charset="-122"/>
              </a:endParaRPr>
            </a:p>
          </p:txBody>
        </p:sp>
      </p:grpSp>
      <p:sp>
        <p:nvSpPr>
          <p:cNvPr id="91" name="TextBox 9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8568427" y="949644"/>
            <a:ext cx="243848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2"/>
                </a:solidFill>
                <a:latin typeface="+mj-lt"/>
                <a:cs typeface="等线" panose="02010600030101010101" charset="-122"/>
              </a:rPr>
              <a:t>Main</a:t>
            </a:r>
            <a:r>
              <a:rPr lang="en-US" sz="2800" b="1" dirty="0">
                <a:solidFill>
                  <a:schemeClr val="bg1">
                    <a:lumMod val="85000"/>
                  </a:schemeClr>
                </a:solidFill>
                <a:latin typeface="+mj-lt"/>
                <a:cs typeface="等线" panose="02010600030101010101" charset="-122"/>
              </a:rPr>
              <a:t> </a:t>
            </a:r>
            <a:r>
              <a:rPr lang="en-US" sz="2800" b="1" dirty="0">
                <a:solidFill>
                  <a:schemeClr val="accent1"/>
                </a:solidFill>
                <a:latin typeface="+mj-lt"/>
                <a:cs typeface="等线" panose="02010600030101010101" charset="-122"/>
              </a:rPr>
              <a:t>Events</a:t>
            </a:r>
          </a:p>
        </p:txBody>
      </p:sp>
      <p:grpSp>
        <p:nvGrpSpPr>
          <p:cNvPr id="15" name="Group 1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09367" y="849469"/>
            <a:ext cx="7211961" cy="5241449"/>
            <a:chOff x="899652" y="1289980"/>
            <a:chExt cx="7211961" cy="5241449"/>
          </a:xfrm>
        </p:grpSpPr>
        <p:sp>
          <p:nvSpPr>
            <p:cNvPr id="38" name="Rectangle: Rounded Corners 37"/>
            <p:cNvSpPr/>
            <p:nvPr/>
          </p:nvSpPr>
          <p:spPr>
            <a:xfrm>
              <a:off x="899652" y="1289980"/>
              <a:ext cx="7211961" cy="5241449"/>
            </a:xfrm>
            <a:prstGeom prst="roundRect">
              <a:avLst>
                <a:gd name="adj" fmla="val 1755"/>
              </a:avLst>
            </a:prstGeom>
            <a:solidFill>
              <a:schemeClr val="bg1"/>
            </a:solidFill>
            <a:ln>
              <a:noFill/>
            </a:ln>
            <a:effectLst>
              <a:outerShdw blurRad="508000" dist="876300" dir="5400000" sx="85000" sy="85000" algn="t" rotWithShape="0">
                <a:prstClr val="black">
                  <a:alpha val="2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899652" y="2079523"/>
              <a:ext cx="7211961" cy="0"/>
            </a:xfrm>
            <a:prstGeom prst="line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69922" y="1822626"/>
            <a:ext cx="6690852" cy="4074972"/>
            <a:chOff x="869922" y="1822626"/>
            <a:chExt cx="6690852" cy="4074972"/>
          </a:xfrm>
        </p:grpSpPr>
        <p:grpSp>
          <p:nvGrpSpPr>
            <p:cNvPr id="10" name="Group 9"/>
            <p:cNvGrpSpPr/>
            <p:nvPr/>
          </p:nvGrpSpPr>
          <p:grpSpPr>
            <a:xfrm>
              <a:off x="869922" y="1822626"/>
              <a:ext cx="6690852" cy="384918"/>
              <a:chOff x="869922" y="1822626"/>
              <a:chExt cx="6690852" cy="384918"/>
            </a:xfrm>
          </p:grpSpPr>
          <p:sp>
            <p:nvSpPr>
              <p:cNvPr id="40" name="Rectangle: Rounded Corners 39"/>
              <p:cNvSpPr/>
              <p:nvPr/>
            </p:nvSpPr>
            <p:spPr>
              <a:xfrm>
                <a:off x="869922" y="1822632"/>
                <a:ext cx="732504" cy="38491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accent1"/>
                    </a:solidFill>
                    <a:latin typeface="+mj-lt"/>
                    <a:cs typeface="等线" panose="02010600030101010101" charset="-122"/>
                  </a:rPr>
                  <a:t>SUN</a:t>
                </a:r>
              </a:p>
            </p:txBody>
          </p:sp>
          <p:sp>
            <p:nvSpPr>
              <p:cNvPr id="41" name="Rectangle: Rounded Corners 40"/>
              <p:cNvSpPr/>
              <p:nvPr/>
            </p:nvSpPr>
            <p:spPr>
              <a:xfrm>
                <a:off x="1862980" y="1822631"/>
                <a:ext cx="732504" cy="38491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accent1"/>
                    </a:solidFill>
                    <a:latin typeface="+mj-lt"/>
                    <a:cs typeface="等线" panose="02010600030101010101" charset="-122"/>
                  </a:rPr>
                  <a:t>MON</a:t>
                </a:r>
              </a:p>
            </p:txBody>
          </p:sp>
          <p:sp>
            <p:nvSpPr>
              <p:cNvPr id="42" name="Rectangle: Rounded Corners 41"/>
              <p:cNvSpPr/>
              <p:nvPr/>
            </p:nvSpPr>
            <p:spPr>
              <a:xfrm>
                <a:off x="2856038" y="1822630"/>
                <a:ext cx="732504" cy="38491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accent1"/>
                    </a:solidFill>
                    <a:latin typeface="+mj-lt"/>
                    <a:cs typeface="等线" panose="02010600030101010101" charset="-122"/>
                  </a:rPr>
                  <a:t>TUE</a:t>
                </a:r>
              </a:p>
            </p:txBody>
          </p:sp>
          <p:sp>
            <p:nvSpPr>
              <p:cNvPr id="43" name="Rectangle: Rounded Corners 42"/>
              <p:cNvSpPr/>
              <p:nvPr/>
            </p:nvSpPr>
            <p:spPr>
              <a:xfrm>
                <a:off x="3849096" y="1822629"/>
                <a:ext cx="732504" cy="38491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accent1"/>
                    </a:solidFill>
                    <a:latin typeface="+mj-lt"/>
                    <a:cs typeface="等线" panose="02010600030101010101" charset="-122"/>
                  </a:rPr>
                  <a:t>WED</a:t>
                </a:r>
              </a:p>
            </p:txBody>
          </p:sp>
          <p:sp>
            <p:nvSpPr>
              <p:cNvPr id="44" name="Rectangle: Rounded Corners 43"/>
              <p:cNvSpPr/>
              <p:nvPr/>
            </p:nvSpPr>
            <p:spPr>
              <a:xfrm>
                <a:off x="4842154" y="1822628"/>
                <a:ext cx="732504" cy="38491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accent1"/>
                    </a:solidFill>
                    <a:latin typeface="+mj-lt"/>
                    <a:cs typeface="等线" panose="02010600030101010101" charset="-122"/>
                  </a:rPr>
                  <a:t>THU</a:t>
                </a:r>
              </a:p>
            </p:txBody>
          </p:sp>
          <p:sp>
            <p:nvSpPr>
              <p:cNvPr id="45" name="Rectangle: Rounded Corners 44"/>
              <p:cNvSpPr/>
              <p:nvPr/>
            </p:nvSpPr>
            <p:spPr>
              <a:xfrm>
                <a:off x="5835212" y="1822627"/>
                <a:ext cx="732504" cy="38491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accent1"/>
                    </a:solidFill>
                    <a:latin typeface="+mj-lt"/>
                    <a:cs typeface="等线" panose="02010600030101010101" charset="-122"/>
                  </a:rPr>
                  <a:t>FRI</a:t>
                </a:r>
              </a:p>
            </p:txBody>
          </p:sp>
          <p:sp>
            <p:nvSpPr>
              <p:cNvPr id="46" name="Rectangle: Rounded Corners 45"/>
              <p:cNvSpPr/>
              <p:nvPr/>
            </p:nvSpPr>
            <p:spPr>
              <a:xfrm>
                <a:off x="6828270" y="1822626"/>
                <a:ext cx="732504" cy="384912"/>
              </a:xfrm>
              <a:prstGeom prst="round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accent1"/>
                    </a:solidFill>
                    <a:latin typeface="+mj-lt"/>
                    <a:cs typeface="等线" panose="02010600030101010101" charset="-122"/>
                  </a:rPr>
                  <a:t>SAT</a:t>
                </a: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948580" y="2264581"/>
              <a:ext cx="6533535" cy="3633017"/>
              <a:chOff x="948580" y="2264581"/>
              <a:chExt cx="6533535" cy="3633017"/>
            </a:xfrm>
          </p:grpSpPr>
          <p:sp>
            <p:nvSpPr>
              <p:cNvPr id="2" name="Oval 1"/>
              <p:cNvSpPr/>
              <p:nvPr/>
            </p:nvSpPr>
            <p:spPr>
              <a:xfrm>
                <a:off x="948580" y="2264587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等线" panose="02010600030101010101" charset="-122"/>
                  </a:rPr>
                  <a:t>31</a:t>
                </a:r>
              </a:p>
            </p:txBody>
          </p:sp>
          <p:sp>
            <p:nvSpPr>
              <p:cNvPr id="4" name="Oval 3"/>
              <p:cNvSpPr/>
              <p:nvPr/>
            </p:nvSpPr>
            <p:spPr>
              <a:xfrm>
                <a:off x="1941638" y="2264586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1</a:t>
                </a:r>
              </a:p>
            </p:txBody>
          </p:sp>
          <p:sp>
            <p:nvSpPr>
              <p:cNvPr id="5" name="Oval 4"/>
              <p:cNvSpPr/>
              <p:nvPr/>
            </p:nvSpPr>
            <p:spPr>
              <a:xfrm>
                <a:off x="2934696" y="2264585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</a:t>
                </a:r>
              </a:p>
            </p:txBody>
          </p:sp>
          <p:sp>
            <p:nvSpPr>
              <p:cNvPr id="6" name="Oval 5"/>
              <p:cNvSpPr/>
              <p:nvPr/>
            </p:nvSpPr>
            <p:spPr>
              <a:xfrm>
                <a:off x="3927754" y="2264584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3</a:t>
                </a:r>
              </a:p>
            </p:txBody>
          </p:sp>
          <p:sp>
            <p:nvSpPr>
              <p:cNvPr id="7" name="Oval 6"/>
              <p:cNvSpPr/>
              <p:nvPr/>
            </p:nvSpPr>
            <p:spPr>
              <a:xfrm>
                <a:off x="4920812" y="2264583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4</a:t>
                </a: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5913870" y="2264582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5</a:t>
                </a: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6906928" y="2264581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6</a:t>
                </a: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948580" y="3027816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7</a:t>
                </a: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1941638" y="3027815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8</a:t>
                </a:r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2934696" y="3027814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9</a:t>
                </a:r>
              </a:p>
            </p:txBody>
          </p:sp>
          <p:sp>
            <p:nvSpPr>
              <p:cNvPr id="20" name="Oval 19"/>
              <p:cNvSpPr/>
              <p:nvPr/>
            </p:nvSpPr>
            <p:spPr>
              <a:xfrm>
                <a:off x="3927754" y="3027813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10</a:t>
                </a:r>
              </a:p>
            </p:txBody>
          </p:sp>
          <p:sp>
            <p:nvSpPr>
              <p:cNvPr id="21" name="Oval 20"/>
              <p:cNvSpPr/>
              <p:nvPr/>
            </p:nvSpPr>
            <p:spPr>
              <a:xfrm>
                <a:off x="4920812" y="3027812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11</a:t>
                </a:r>
              </a:p>
            </p:txBody>
          </p:sp>
          <p:sp>
            <p:nvSpPr>
              <p:cNvPr id="22" name="Oval 21"/>
              <p:cNvSpPr/>
              <p:nvPr/>
            </p:nvSpPr>
            <p:spPr>
              <a:xfrm>
                <a:off x="5913870" y="3027811"/>
                <a:ext cx="575187" cy="5751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bg1"/>
                    </a:solidFill>
                    <a:latin typeface="+mj-lt"/>
                    <a:cs typeface="等线" panose="02010600030101010101" charset="-122"/>
                  </a:rPr>
                  <a:t>12</a:t>
                </a:r>
              </a:p>
            </p:txBody>
          </p:sp>
          <p:sp>
            <p:nvSpPr>
              <p:cNvPr id="23" name="Oval 22"/>
              <p:cNvSpPr/>
              <p:nvPr/>
            </p:nvSpPr>
            <p:spPr>
              <a:xfrm>
                <a:off x="6906928" y="3027810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13</a:t>
                </a:r>
              </a:p>
            </p:txBody>
          </p:sp>
          <p:sp>
            <p:nvSpPr>
              <p:cNvPr id="24" name="Oval 23"/>
              <p:cNvSpPr/>
              <p:nvPr/>
            </p:nvSpPr>
            <p:spPr>
              <a:xfrm>
                <a:off x="948580" y="3791045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14</a:t>
                </a:r>
              </a:p>
            </p:txBody>
          </p:sp>
          <p:sp>
            <p:nvSpPr>
              <p:cNvPr id="25" name="Oval 24"/>
              <p:cNvSpPr/>
              <p:nvPr/>
            </p:nvSpPr>
            <p:spPr>
              <a:xfrm>
                <a:off x="1941638" y="3791044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15</a:t>
                </a:r>
              </a:p>
            </p:txBody>
          </p:sp>
          <p:sp>
            <p:nvSpPr>
              <p:cNvPr id="26" name="Oval 25"/>
              <p:cNvSpPr/>
              <p:nvPr/>
            </p:nvSpPr>
            <p:spPr>
              <a:xfrm>
                <a:off x="2934696" y="3791043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16</a:t>
                </a:r>
              </a:p>
            </p:txBody>
          </p:sp>
          <p:sp>
            <p:nvSpPr>
              <p:cNvPr id="27" name="Oval 26"/>
              <p:cNvSpPr/>
              <p:nvPr/>
            </p:nvSpPr>
            <p:spPr>
              <a:xfrm>
                <a:off x="3927754" y="3791042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17</a:t>
                </a:r>
              </a:p>
            </p:txBody>
          </p:sp>
          <p:sp>
            <p:nvSpPr>
              <p:cNvPr id="28" name="Oval 27"/>
              <p:cNvSpPr/>
              <p:nvPr/>
            </p:nvSpPr>
            <p:spPr>
              <a:xfrm>
                <a:off x="4920812" y="3791041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18</a:t>
                </a:r>
              </a:p>
            </p:txBody>
          </p:sp>
          <p:sp>
            <p:nvSpPr>
              <p:cNvPr id="29" name="Oval 28"/>
              <p:cNvSpPr/>
              <p:nvPr/>
            </p:nvSpPr>
            <p:spPr>
              <a:xfrm>
                <a:off x="5913870" y="3791040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19</a:t>
                </a:r>
              </a:p>
            </p:txBody>
          </p:sp>
          <p:sp>
            <p:nvSpPr>
              <p:cNvPr id="30" name="Oval 29"/>
              <p:cNvSpPr/>
              <p:nvPr/>
            </p:nvSpPr>
            <p:spPr>
              <a:xfrm>
                <a:off x="6906928" y="3791039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0</a:t>
                </a:r>
              </a:p>
            </p:txBody>
          </p:sp>
          <p:sp>
            <p:nvSpPr>
              <p:cNvPr id="31" name="Oval 30"/>
              <p:cNvSpPr/>
              <p:nvPr/>
            </p:nvSpPr>
            <p:spPr>
              <a:xfrm>
                <a:off x="948580" y="4554274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1</a:t>
                </a:r>
              </a:p>
            </p:txBody>
          </p:sp>
          <p:sp>
            <p:nvSpPr>
              <p:cNvPr id="32" name="Oval 31"/>
              <p:cNvSpPr/>
              <p:nvPr/>
            </p:nvSpPr>
            <p:spPr>
              <a:xfrm>
                <a:off x="1941638" y="4554273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2</a:t>
                </a:r>
              </a:p>
            </p:txBody>
          </p:sp>
          <p:sp>
            <p:nvSpPr>
              <p:cNvPr id="33" name="Oval 32"/>
              <p:cNvSpPr/>
              <p:nvPr/>
            </p:nvSpPr>
            <p:spPr>
              <a:xfrm>
                <a:off x="2934696" y="4554272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3</a:t>
                </a:r>
              </a:p>
            </p:txBody>
          </p:sp>
          <p:sp>
            <p:nvSpPr>
              <p:cNvPr id="34" name="Oval 33"/>
              <p:cNvSpPr/>
              <p:nvPr/>
            </p:nvSpPr>
            <p:spPr>
              <a:xfrm>
                <a:off x="3927754" y="4554271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4</a:t>
                </a:r>
              </a:p>
            </p:txBody>
          </p:sp>
          <p:sp>
            <p:nvSpPr>
              <p:cNvPr id="35" name="Oval 34"/>
              <p:cNvSpPr/>
              <p:nvPr/>
            </p:nvSpPr>
            <p:spPr>
              <a:xfrm>
                <a:off x="4920812" y="4554270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5</a:t>
                </a:r>
              </a:p>
            </p:txBody>
          </p:sp>
          <p:sp>
            <p:nvSpPr>
              <p:cNvPr id="36" name="Oval 35"/>
              <p:cNvSpPr/>
              <p:nvPr/>
            </p:nvSpPr>
            <p:spPr>
              <a:xfrm>
                <a:off x="5913870" y="4554269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6</a:t>
                </a:r>
              </a:p>
            </p:txBody>
          </p:sp>
          <p:sp>
            <p:nvSpPr>
              <p:cNvPr id="37" name="Oval 36"/>
              <p:cNvSpPr/>
              <p:nvPr/>
            </p:nvSpPr>
            <p:spPr>
              <a:xfrm>
                <a:off x="6906928" y="4554268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7</a:t>
                </a:r>
              </a:p>
            </p:txBody>
          </p:sp>
          <p:sp>
            <p:nvSpPr>
              <p:cNvPr id="48" name="Oval 47"/>
              <p:cNvSpPr/>
              <p:nvPr/>
            </p:nvSpPr>
            <p:spPr>
              <a:xfrm>
                <a:off x="948580" y="5322411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8</a:t>
                </a:r>
              </a:p>
            </p:txBody>
          </p:sp>
          <p:sp>
            <p:nvSpPr>
              <p:cNvPr id="49" name="Oval 48"/>
              <p:cNvSpPr/>
              <p:nvPr/>
            </p:nvSpPr>
            <p:spPr>
              <a:xfrm>
                <a:off x="1941638" y="5322410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29</a:t>
                </a:r>
              </a:p>
            </p:txBody>
          </p:sp>
          <p:sp>
            <p:nvSpPr>
              <p:cNvPr id="51" name="Oval 50"/>
              <p:cNvSpPr/>
              <p:nvPr/>
            </p:nvSpPr>
            <p:spPr>
              <a:xfrm>
                <a:off x="2934696" y="5322409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j-lt"/>
                    <a:cs typeface="等线" panose="02010600030101010101" charset="-122"/>
                  </a:rPr>
                  <a:t>30</a:t>
                </a:r>
              </a:p>
            </p:txBody>
          </p:sp>
          <p:sp>
            <p:nvSpPr>
              <p:cNvPr id="52" name="Oval 51"/>
              <p:cNvSpPr/>
              <p:nvPr/>
            </p:nvSpPr>
            <p:spPr>
              <a:xfrm>
                <a:off x="3927754" y="5322408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等线" panose="02010600030101010101" charset="-122"/>
                  </a:rPr>
                  <a:t>1</a:t>
                </a:r>
              </a:p>
            </p:txBody>
          </p:sp>
          <p:sp>
            <p:nvSpPr>
              <p:cNvPr id="53" name="Oval 52"/>
              <p:cNvSpPr/>
              <p:nvPr/>
            </p:nvSpPr>
            <p:spPr>
              <a:xfrm>
                <a:off x="4920812" y="5322407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等线" panose="02010600030101010101" charset="-122"/>
                  </a:rPr>
                  <a:t>2</a:t>
                </a:r>
              </a:p>
            </p:txBody>
          </p:sp>
          <p:sp>
            <p:nvSpPr>
              <p:cNvPr id="56" name="Oval 55"/>
              <p:cNvSpPr/>
              <p:nvPr/>
            </p:nvSpPr>
            <p:spPr>
              <a:xfrm>
                <a:off x="5913870" y="5322406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等线" panose="02010600030101010101" charset="-122"/>
                  </a:rPr>
                  <a:t>3</a:t>
                </a:r>
              </a:p>
            </p:txBody>
          </p:sp>
          <p:sp>
            <p:nvSpPr>
              <p:cNvPr id="57" name="Oval 56"/>
              <p:cNvSpPr/>
              <p:nvPr/>
            </p:nvSpPr>
            <p:spPr>
              <a:xfrm>
                <a:off x="6906928" y="5322405"/>
                <a:ext cx="575187" cy="57518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等线" panose="02010600030101010101" charset="-122"/>
                  </a:rPr>
                  <a:t>4</a:t>
                </a:r>
              </a:p>
            </p:txBody>
          </p:sp>
        </p:grpSp>
      </p:grpSp>
      <p:grpSp>
        <p:nvGrpSpPr>
          <p:cNvPr id="16" name="Group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69921" y="957264"/>
            <a:ext cx="6690852" cy="585788"/>
            <a:chOff x="869921" y="957264"/>
            <a:chExt cx="6690852" cy="585788"/>
          </a:xfrm>
        </p:grpSpPr>
        <p:grpSp>
          <p:nvGrpSpPr>
            <p:cNvPr id="47" name="Group 46"/>
            <p:cNvGrpSpPr/>
            <p:nvPr/>
          </p:nvGrpSpPr>
          <p:grpSpPr>
            <a:xfrm>
              <a:off x="869921" y="957264"/>
              <a:ext cx="585792" cy="585788"/>
              <a:chOff x="1073150" y="1123950"/>
              <a:chExt cx="314325" cy="314325"/>
            </a:xfrm>
          </p:grpSpPr>
          <p:sp>
            <p:nvSpPr>
              <p:cNvPr id="39" name="Rectangle: Rounded Corners 38"/>
              <p:cNvSpPr/>
              <p:nvPr/>
            </p:nvSpPr>
            <p:spPr>
              <a:xfrm>
                <a:off x="1073150" y="1123950"/>
                <a:ext cx="314325" cy="314325"/>
              </a:xfrm>
              <a:prstGeom prst="roundRect">
                <a:avLst>
                  <a:gd name="adj" fmla="val 959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cs typeface="等线" panose="02010600030101010101" charset="-122"/>
                </a:endParaRPr>
              </a:p>
            </p:txBody>
          </p:sp>
          <p:sp>
            <p:nvSpPr>
              <p:cNvPr id="58" name="Freeform 4560"/>
              <p:cNvSpPr/>
              <p:nvPr/>
            </p:nvSpPr>
            <p:spPr bwMode="auto">
              <a:xfrm>
                <a:off x="1142398" y="1202424"/>
                <a:ext cx="175828" cy="157377"/>
              </a:xfrm>
              <a:custGeom>
                <a:avLst/>
                <a:gdLst>
                  <a:gd name="T0" fmla="*/ 214 w 218"/>
                  <a:gd name="T1" fmla="*/ 94 h 195"/>
                  <a:gd name="T2" fmla="*/ 15 w 218"/>
                  <a:gd name="T3" fmla="*/ 94 h 195"/>
                  <a:gd name="T4" fmla="*/ 102 w 218"/>
                  <a:gd name="T5" fmla="*/ 7 h 195"/>
                  <a:gd name="T6" fmla="*/ 102 w 218"/>
                  <a:gd name="T7" fmla="*/ 1 h 195"/>
                  <a:gd name="T8" fmla="*/ 96 w 218"/>
                  <a:gd name="T9" fmla="*/ 1 h 195"/>
                  <a:gd name="T10" fmla="*/ 0 w 218"/>
                  <a:gd name="T11" fmla="*/ 98 h 195"/>
                  <a:gd name="T12" fmla="*/ 96 w 218"/>
                  <a:gd name="T13" fmla="*/ 194 h 195"/>
                  <a:gd name="T14" fmla="*/ 99 w 218"/>
                  <a:gd name="T15" fmla="*/ 195 h 195"/>
                  <a:gd name="T16" fmla="*/ 102 w 218"/>
                  <a:gd name="T17" fmla="*/ 194 h 195"/>
                  <a:gd name="T18" fmla="*/ 102 w 218"/>
                  <a:gd name="T19" fmla="*/ 188 h 195"/>
                  <a:gd name="T20" fmla="*/ 15 w 218"/>
                  <a:gd name="T21" fmla="*/ 102 h 195"/>
                  <a:gd name="T22" fmla="*/ 214 w 218"/>
                  <a:gd name="T23" fmla="*/ 102 h 195"/>
                  <a:gd name="T24" fmla="*/ 218 w 218"/>
                  <a:gd name="T25" fmla="*/ 98 h 195"/>
                  <a:gd name="T26" fmla="*/ 214 w 218"/>
                  <a:gd name="T27" fmla="*/ 94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8" h="195">
                    <a:moveTo>
                      <a:pt x="214" y="94"/>
                    </a:moveTo>
                    <a:cubicBezTo>
                      <a:pt x="15" y="94"/>
                      <a:pt x="15" y="94"/>
                      <a:pt x="15" y="94"/>
                    </a:cubicBezTo>
                    <a:cubicBezTo>
                      <a:pt x="102" y="7"/>
                      <a:pt x="102" y="7"/>
                      <a:pt x="102" y="7"/>
                    </a:cubicBezTo>
                    <a:cubicBezTo>
                      <a:pt x="104" y="5"/>
                      <a:pt x="104" y="3"/>
                      <a:pt x="102" y="1"/>
                    </a:cubicBezTo>
                    <a:cubicBezTo>
                      <a:pt x="100" y="0"/>
                      <a:pt x="98" y="0"/>
                      <a:pt x="96" y="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96" y="194"/>
                      <a:pt x="96" y="194"/>
                      <a:pt x="96" y="194"/>
                    </a:cubicBezTo>
                    <a:cubicBezTo>
                      <a:pt x="97" y="195"/>
                      <a:pt x="98" y="195"/>
                      <a:pt x="99" y="195"/>
                    </a:cubicBezTo>
                    <a:cubicBezTo>
                      <a:pt x="100" y="195"/>
                      <a:pt x="101" y="195"/>
                      <a:pt x="102" y="194"/>
                    </a:cubicBezTo>
                    <a:cubicBezTo>
                      <a:pt x="104" y="192"/>
                      <a:pt x="104" y="190"/>
                      <a:pt x="102" y="188"/>
                    </a:cubicBezTo>
                    <a:cubicBezTo>
                      <a:pt x="15" y="102"/>
                      <a:pt x="15" y="102"/>
                      <a:pt x="15" y="102"/>
                    </a:cubicBezTo>
                    <a:cubicBezTo>
                      <a:pt x="214" y="102"/>
                      <a:pt x="214" y="102"/>
                      <a:pt x="214" y="102"/>
                    </a:cubicBezTo>
                    <a:cubicBezTo>
                      <a:pt x="216" y="102"/>
                      <a:pt x="218" y="100"/>
                      <a:pt x="218" y="98"/>
                    </a:cubicBezTo>
                    <a:cubicBezTo>
                      <a:pt x="218" y="95"/>
                      <a:pt x="216" y="94"/>
                      <a:pt x="214" y="9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cs typeface="等线" panose="02010600030101010101" charset="-122"/>
                </a:endParaRPr>
              </a:p>
            </p:txBody>
          </p:sp>
        </p:grpSp>
        <p:grpSp>
          <p:nvGrpSpPr>
            <p:cNvPr id="60" name="Group 59"/>
            <p:cNvGrpSpPr/>
            <p:nvPr/>
          </p:nvGrpSpPr>
          <p:grpSpPr>
            <a:xfrm flipH="1">
              <a:off x="6974981" y="957264"/>
              <a:ext cx="585792" cy="585788"/>
              <a:chOff x="1073150" y="1123950"/>
              <a:chExt cx="314325" cy="314325"/>
            </a:xfrm>
          </p:grpSpPr>
          <p:sp>
            <p:nvSpPr>
              <p:cNvPr id="61" name="Rectangle: Rounded Corners 60"/>
              <p:cNvSpPr/>
              <p:nvPr/>
            </p:nvSpPr>
            <p:spPr>
              <a:xfrm>
                <a:off x="1073150" y="1123950"/>
                <a:ext cx="314325" cy="314325"/>
              </a:xfrm>
              <a:prstGeom prst="roundRect">
                <a:avLst>
                  <a:gd name="adj" fmla="val 9596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cs typeface="等线" panose="02010600030101010101" charset="-122"/>
                </a:endParaRPr>
              </a:p>
            </p:txBody>
          </p:sp>
          <p:sp>
            <p:nvSpPr>
              <p:cNvPr id="62" name="Freeform 4560"/>
              <p:cNvSpPr/>
              <p:nvPr/>
            </p:nvSpPr>
            <p:spPr bwMode="auto">
              <a:xfrm>
                <a:off x="1142398" y="1202424"/>
                <a:ext cx="175828" cy="157377"/>
              </a:xfrm>
              <a:custGeom>
                <a:avLst/>
                <a:gdLst>
                  <a:gd name="T0" fmla="*/ 214 w 218"/>
                  <a:gd name="T1" fmla="*/ 94 h 195"/>
                  <a:gd name="T2" fmla="*/ 15 w 218"/>
                  <a:gd name="T3" fmla="*/ 94 h 195"/>
                  <a:gd name="T4" fmla="*/ 102 w 218"/>
                  <a:gd name="T5" fmla="*/ 7 h 195"/>
                  <a:gd name="T6" fmla="*/ 102 w 218"/>
                  <a:gd name="T7" fmla="*/ 1 h 195"/>
                  <a:gd name="T8" fmla="*/ 96 w 218"/>
                  <a:gd name="T9" fmla="*/ 1 h 195"/>
                  <a:gd name="T10" fmla="*/ 0 w 218"/>
                  <a:gd name="T11" fmla="*/ 98 h 195"/>
                  <a:gd name="T12" fmla="*/ 96 w 218"/>
                  <a:gd name="T13" fmla="*/ 194 h 195"/>
                  <a:gd name="T14" fmla="*/ 99 w 218"/>
                  <a:gd name="T15" fmla="*/ 195 h 195"/>
                  <a:gd name="T16" fmla="*/ 102 w 218"/>
                  <a:gd name="T17" fmla="*/ 194 h 195"/>
                  <a:gd name="T18" fmla="*/ 102 w 218"/>
                  <a:gd name="T19" fmla="*/ 188 h 195"/>
                  <a:gd name="T20" fmla="*/ 15 w 218"/>
                  <a:gd name="T21" fmla="*/ 102 h 195"/>
                  <a:gd name="T22" fmla="*/ 214 w 218"/>
                  <a:gd name="T23" fmla="*/ 102 h 195"/>
                  <a:gd name="T24" fmla="*/ 218 w 218"/>
                  <a:gd name="T25" fmla="*/ 98 h 195"/>
                  <a:gd name="T26" fmla="*/ 214 w 218"/>
                  <a:gd name="T27" fmla="*/ 94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8" h="195">
                    <a:moveTo>
                      <a:pt x="214" y="94"/>
                    </a:moveTo>
                    <a:cubicBezTo>
                      <a:pt x="15" y="94"/>
                      <a:pt x="15" y="94"/>
                      <a:pt x="15" y="94"/>
                    </a:cubicBezTo>
                    <a:cubicBezTo>
                      <a:pt x="102" y="7"/>
                      <a:pt x="102" y="7"/>
                      <a:pt x="102" y="7"/>
                    </a:cubicBezTo>
                    <a:cubicBezTo>
                      <a:pt x="104" y="5"/>
                      <a:pt x="104" y="3"/>
                      <a:pt x="102" y="1"/>
                    </a:cubicBezTo>
                    <a:cubicBezTo>
                      <a:pt x="100" y="0"/>
                      <a:pt x="98" y="0"/>
                      <a:pt x="96" y="1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96" y="194"/>
                      <a:pt x="96" y="194"/>
                      <a:pt x="96" y="194"/>
                    </a:cubicBezTo>
                    <a:cubicBezTo>
                      <a:pt x="97" y="195"/>
                      <a:pt x="98" y="195"/>
                      <a:pt x="99" y="195"/>
                    </a:cubicBezTo>
                    <a:cubicBezTo>
                      <a:pt x="100" y="195"/>
                      <a:pt x="101" y="195"/>
                      <a:pt x="102" y="194"/>
                    </a:cubicBezTo>
                    <a:cubicBezTo>
                      <a:pt x="104" y="192"/>
                      <a:pt x="104" y="190"/>
                      <a:pt x="102" y="188"/>
                    </a:cubicBezTo>
                    <a:cubicBezTo>
                      <a:pt x="15" y="102"/>
                      <a:pt x="15" y="102"/>
                      <a:pt x="15" y="102"/>
                    </a:cubicBezTo>
                    <a:cubicBezTo>
                      <a:pt x="214" y="102"/>
                      <a:pt x="214" y="102"/>
                      <a:pt x="214" y="102"/>
                    </a:cubicBezTo>
                    <a:cubicBezTo>
                      <a:pt x="216" y="102"/>
                      <a:pt x="218" y="100"/>
                      <a:pt x="218" y="98"/>
                    </a:cubicBezTo>
                    <a:cubicBezTo>
                      <a:pt x="218" y="95"/>
                      <a:pt x="216" y="94"/>
                      <a:pt x="214" y="9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en-US" dirty="0">
                  <a:cs typeface="等线" panose="02010600030101010101" charset="-122"/>
                </a:endParaRPr>
              </a:p>
            </p:txBody>
          </p:sp>
        </p:grpSp>
      </p:grpSp>
      <p:grpSp>
        <p:nvGrpSpPr>
          <p:cNvPr id="11" name="Group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117932" y="949644"/>
            <a:ext cx="2194832" cy="659807"/>
            <a:chOff x="3117932" y="949644"/>
            <a:chExt cx="2194832" cy="659807"/>
          </a:xfrm>
        </p:grpSpPr>
        <p:sp>
          <p:nvSpPr>
            <p:cNvPr id="55" name="TextBox 54"/>
            <p:cNvSpPr txBox="1"/>
            <p:nvPr/>
          </p:nvSpPr>
          <p:spPr>
            <a:xfrm>
              <a:off x="3117932" y="949644"/>
              <a:ext cx="2194832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2800" b="1" dirty="0">
                  <a:solidFill>
                    <a:schemeClr val="tx2"/>
                  </a:solidFill>
                  <a:latin typeface="+mj-lt"/>
                  <a:cs typeface="等线" panose="02010600030101010101" charset="-122"/>
                </a:rPr>
                <a:t>JUNE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  <a:latin typeface="+mj-lt"/>
                  <a:cs typeface="等线" panose="02010600030101010101" charset="-122"/>
                </a:rPr>
                <a:t> </a:t>
              </a:r>
              <a:r>
                <a:rPr lang="en-US" sz="2800" b="1" dirty="0">
                  <a:solidFill>
                    <a:schemeClr val="accent1"/>
                  </a:solidFill>
                  <a:latin typeface="+mj-lt"/>
                  <a:cs typeface="等线" panose="02010600030101010101" charset="-122"/>
                </a:rPr>
                <a:t>20XX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3503455" y="1355535"/>
              <a:ext cx="142378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5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2 Upcoming Events</a:t>
              </a:r>
            </a:p>
          </p:txBody>
        </p:sp>
      </p:grpSp>
      <p:sp>
        <p:nvSpPr>
          <p:cNvPr id="13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 spd="slow">
    <p:push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341325" y="3314552"/>
            <a:ext cx="6981368" cy="352270"/>
          </a:xfrm>
          <a:prstGeom prst="rect">
            <a:avLst/>
          </a:prstGeom>
        </p:spPr>
      </p:pic>
      <p:pic>
        <p:nvPicPr>
          <p:cNvPr id="11" name="图片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 flipV="1">
            <a:off x="4942332" y="3252864"/>
            <a:ext cx="6981368" cy="352270"/>
          </a:xfrm>
          <a:prstGeom prst="rect">
            <a:avLst/>
          </a:prstGeom>
        </p:spPr>
      </p:pic>
      <p:pic>
        <p:nvPicPr>
          <p:cNvPr id="9" name="图片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2656343" y="952361"/>
            <a:ext cx="6981368" cy="352270"/>
          </a:xfrm>
          <a:prstGeom prst="rect">
            <a:avLst/>
          </a:prstGeom>
        </p:spPr>
      </p:pic>
      <p:pic>
        <p:nvPicPr>
          <p:cNvPr id="10" name="图片 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2641827" y="5598069"/>
            <a:ext cx="6981368" cy="352270"/>
          </a:xfrm>
          <a:prstGeom prst="rect">
            <a:avLst/>
          </a:prstGeom>
        </p:spPr>
      </p:pic>
      <p:pic>
        <p:nvPicPr>
          <p:cNvPr id="12" name="图片 1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2656343" y="2500930"/>
            <a:ext cx="6981368" cy="352270"/>
          </a:xfrm>
          <a:prstGeom prst="rect">
            <a:avLst/>
          </a:prstGeom>
        </p:spPr>
      </p:pic>
      <p:pic>
        <p:nvPicPr>
          <p:cNvPr id="13" name="图片 1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V="1">
            <a:off x="2656343" y="4049499"/>
            <a:ext cx="6981368" cy="352270"/>
          </a:xfrm>
          <a:prstGeom prst="rect">
            <a:avLst/>
          </a:prstGeom>
        </p:spPr>
      </p:pic>
      <p:pic>
        <p:nvPicPr>
          <p:cNvPr id="14" name="图片 1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3408663" y="3191181"/>
            <a:ext cx="6981368" cy="352270"/>
          </a:xfrm>
          <a:prstGeom prst="rect">
            <a:avLst/>
          </a:prstGeom>
        </p:spPr>
      </p:pic>
      <p:pic>
        <p:nvPicPr>
          <p:cNvPr id="15" name="图片 1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1874994" y="3191181"/>
            <a:ext cx="6981368" cy="352270"/>
          </a:xfrm>
          <a:prstGeom prst="rect">
            <a:avLst/>
          </a:prstGeom>
        </p:spPr>
      </p:pic>
      <p:sp>
        <p:nvSpPr>
          <p:cNvPr id="4" name="矩形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2691399">
            <a:off x="3080324" y="1638084"/>
            <a:ext cx="1872776" cy="1653064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39000"/>
                </a:schemeClr>
              </a:gs>
              <a:gs pos="0">
                <a:schemeClr val="tx1">
                  <a:alpha val="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3" name="组合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898900" y="1189679"/>
            <a:ext cx="1382694" cy="1382692"/>
            <a:chOff x="3869354" y="1160133"/>
            <a:chExt cx="1441786" cy="1441784"/>
          </a:xfrm>
          <a:effectLst>
            <a:outerShdw blurRad="330200" sx="104000" sy="104000" algn="ctr" rotWithShape="0">
              <a:prstClr val="black">
                <a:alpha val="94000"/>
              </a:prstClr>
            </a:outerShdw>
          </a:effectLst>
        </p:grpSpPr>
        <p:sp>
          <p:nvSpPr>
            <p:cNvPr id="17" name="圆角矩形 16"/>
            <p:cNvSpPr/>
            <p:nvPr/>
          </p:nvSpPr>
          <p:spPr>
            <a:xfrm>
              <a:off x="3869354" y="1160133"/>
              <a:ext cx="1441786" cy="1441784"/>
            </a:xfrm>
            <a:prstGeom prst="roundRect">
              <a:avLst>
                <a:gd name="adj" fmla="val 6257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2" name="圆角矩形 1"/>
            <p:cNvSpPr/>
            <p:nvPr/>
          </p:nvSpPr>
          <p:spPr>
            <a:xfrm>
              <a:off x="3888247" y="1179025"/>
              <a:ext cx="1404000" cy="1404000"/>
            </a:xfrm>
            <a:prstGeom prst="roundRect">
              <a:avLst>
                <a:gd name="adj" fmla="val 6257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0800000" scaled="1"/>
            </a:gradFill>
            <a:ln>
              <a:noFill/>
            </a:ln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sp>
        <p:nvSpPr>
          <p:cNvPr id="21" name="矩形 2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2691399">
            <a:off x="3569962" y="1745324"/>
            <a:ext cx="1339793" cy="964288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39000"/>
                </a:schemeClr>
              </a:gs>
              <a:gs pos="0">
                <a:schemeClr val="tx1">
                  <a:alpha val="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18" name="组合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4089400" y="1380179"/>
            <a:ext cx="1001694" cy="1001692"/>
            <a:chOff x="3869354" y="1160134"/>
            <a:chExt cx="1441786" cy="1441785"/>
          </a:xfrm>
          <a:solidFill>
            <a:schemeClr val="accent2"/>
          </a:solidFill>
          <a:effectLst>
            <a:outerShdw blurRad="330200" sx="102000" sy="102000" algn="ctr" rotWithShape="0">
              <a:prstClr val="black">
                <a:alpha val="94000"/>
              </a:prstClr>
            </a:outerShdw>
          </a:effectLst>
        </p:grpSpPr>
        <p:sp>
          <p:nvSpPr>
            <p:cNvPr id="19" name="圆角矩形 18"/>
            <p:cNvSpPr/>
            <p:nvPr/>
          </p:nvSpPr>
          <p:spPr>
            <a:xfrm>
              <a:off x="3869354" y="1160134"/>
              <a:ext cx="1441786" cy="1441785"/>
            </a:xfrm>
            <a:prstGeom prst="roundRect">
              <a:avLst>
                <a:gd name="adj" fmla="val 62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20" name="圆角矩形 19"/>
            <p:cNvSpPr/>
            <p:nvPr/>
          </p:nvSpPr>
          <p:spPr>
            <a:xfrm>
              <a:off x="3876182" y="1166962"/>
              <a:ext cx="1428129" cy="1428128"/>
            </a:xfrm>
            <a:prstGeom prst="roundRect">
              <a:avLst>
                <a:gd name="adj" fmla="val 6257"/>
              </a:avLst>
            </a:prstGeom>
            <a:grpFill/>
            <a:ln>
              <a:noFill/>
            </a:ln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sp>
        <p:nvSpPr>
          <p:cNvPr id="24" name="矩形 2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2691399">
            <a:off x="6147375" y="1638085"/>
            <a:ext cx="1872776" cy="1653064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39000"/>
                </a:schemeClr>
              </a:gs>
              <a:gs pos="0">
                <a:schemeClr val="tx1">
                  <a:alpha val="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25" name="组合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965951" y="1189680"/>
            <a:ext cx="1382694" cy="1382692"/>
            <a:chOff x="3869354" y="1160133"/>
            <a:chExt cx="1441786" cy="1441784"/>
          </a:xfrm>
          <a:effectLst>
            <a:outerShdw blurRad="330200" sx="104000" sy="104000" algn="ctr" rotWithShape="0">
              <a:prstClr val="black">
                <a:alpha val="94000"/>
              </a:prstClr>
            </a:outerShdw>
          </a:effectLst>
        </p:grpSpPr>
        <p:sp>
          <p:nvSpPr>
            <p:cNvPr id="26" name="圆角矩形 25"/>
            <p:cNvSpPr/>
            <p:nvPr/>
          </p:nvSpPr>
          <p:spPr>
            <a:xfrm>
              <a:off x="3869354" y="1160133"/>
              <a:ext cx="1441786" cy="1441784"/>
            </a:xfrm>
            <a:prstGeom prst="roundRect">
              <a:avLst>
                <a:gd name="adj" fmla="val 6257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27" name="圆角矩形 26"/>
            <p:cNvSpPr/>
            <p:nvPr/>
          </p:nvSpPr>
          <p:spPr>
            <a:xfrm>
              <a:off x="3888247" y="1179025"/>
              <a:ext cx="1404000" cy="1404000"/>
            </a:xfrm>
            <a:prstGeom prst="roundRect">
              <a:avLst>
                <a:gd name="adj" fmla="val 6257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0800000" scaled="1"/>
            </a:gradFill>
            <a:ln>
              <a:noFill/>
            </a:ln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sp>
        <p:nvSpPr>
          <p:cNvPr id="28" name="矩形 2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2691399">
            <a:off x="6637013" y="1745325"/>
            <a:ext cx="1339793" cy="964288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39000"/>
                </a:schemeClr>
              </a:gs>
              <a:gs pos="0">
                <a:schemeClr val="tx1">
                  <a:alpha val="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29" name="组合 2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156451" y="1380180"/>
            <a:ext cx="1001694" cy="1001692"/>
            <a:chOff x="3869354" y="1160134"/>
            <a:chExt cx="1441786" cy="1441785"/>
          </a:xfrm>
          <a:solidFill>
            <a:schemeClr val="accent2"/>
          </a:solidFill>
          <a:effectLst>
            <a:outerShdw blurRad="330200" sx="102000" sy="102000" algn="ctr" rotWithShape="0">
              <a:prstClr val="black">
                <a:alpha val="94000"/>
              </a:prstClr>
            </a:outerShdw>
          </a:effectLst>
        </p:grpSpPr>
        <p:sp>
          <p:nvSpPr>
            <p:cNvPr id="30" name="圆角矩形 29"/>
            <p:cNvSpPr/>
            <p:nvPr/>
          </p:nvSpPr>
          <p:spPr>
            <a:xfrm>
              <a:off x="3869354" y="1160134"/>
              <a:ext cx="1441786" cy="1441785"/>
            </a:xfrm>
            <a:prstGeom prst="roundRect">
              <a:avLst>
                <a:gd name="adj" fmla="val 62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31" name="圆角矩形 30"/>
            <p:cNvSpPr/>
            <p:nvPr/>
          </p:nvSpPr>
          <p:spPr>
            <a:xfrm>
              <a:off x="3876182" y="1166962"/>
              <a:ext cx="1428129" cy="1428128"/>
            </a:xfrm>
            <a:prstGeom prst="roundRect">
              <a:avLst>
                <a:gd name="adj" fmla="val 6257"/>
              </a:avLst>
            </a:prstGeom>
            <a:grpFill/>
            <a:ln>
              <a:noFill/>
            </a:ln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sp>
        <p:nvSpPr>
          <p:cNvPr id="35" name="矩形 3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2691399">
            <a:off x="3080323" y="4800384"/>
            <a:ext cx="1872776" cy="1653064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39000"/>
                </a:schemeClr>
              </a:gs>
              <a:gs pos="0">
                <a:schemeClr val="tx1">
                  <a:alpha val="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36" name="组合 3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898899" y="4351979"/>
            <a:ext cx="1382694" cy="1382692"/>
            <a:chOff x="3869354" y="1160133"/>
            <a:chExt cx="1441786" cy="1441784"/>
          </a:xfrm>
          <a:effectLst>
            <a:outerShdw blurRad="330200" sx="104000" sy="104000" algn="ctr" rotWithShape="0">
              <a:prstClr val="black">
                <a:alpha val="94000"/>
              </a:prstClr>
            </a:outerShdw>
          </a:effectLst>
        </p:grpSpPr>
        <p:sp>
          <p:nvSpPr>
            <p:cNvPr id="37" name="圆角矩形 36"/>
            <p:cNvSpPr/>
            <p:nvPr/>
          </p:nvSpPr>
          <p:spPr>
            <a:xfrm>
              <a:off x="3869354" y="1160133"/>
              <a:ext cx="1441786" cy="1441784"/>
            </a:xfrm>
            <a:prstGeom prst="roundRect">
              <a:avLst>
                <a:gd name="adj" fmla="val 6257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38" name="圆角矩形 37"/>
            <p:cNvSpPr/>
            <p:nvPr/>
          </p:nvSpPr>
          <p:spPr>
            <a:xfrm>
              <a:off x="3888247" y="1179025"/>
              <a:ext cx="1404000" cy="1404000"/>
            </a:xfrm>
            <a:prstGeom prst="roundRect">
              <a:avLst>
                <a:gd name="adj" fmla="val 6257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0800000" scaled="1"/>
            </a:gradFill>
            <a:ln>
              <a:noFill/>
            </a:ln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sp>
        <p:nvSpPr>
          <p:cNvPr id="39" name="矩形 3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2691399">
            <a:off x="3569961" y="4907624"/>
            <a:ext cx="1339793" cy="964288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39000"/>
                </a:schemeClr>
              </a:gs>
              <a:gs pos="0">
                <a:schemeClr val="tx1">
                  <a:alpha val="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40" name="组合 3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4089399" y="4542479"/>
            <a:ext cx="1001694" cy="1001692"/>
            <a:chOff x="3869354" y="1160134"/>
            <a:chExt cx="1441786" cy="1441785"/>
          </a:xfrm>
          <a:solidFill>
            <a:schemeClr val="accent2"/>
          </a:solidFill>
          <a:effectLst>
            <a:outerShdw blurRad="330200" sx="102000" sy="102000" algn="ctr" rotWithShape="0">
              <a:prstClr val="black">
                <a:alpha val="94000"/>
              </a:prstClr>
            </a:outerShdw>
          </a:effectLst>
        </p:grpSpPr>
        <p:sp>
          <p:nvSpPr>
            <p:cNvPr id="41" name="圆角矩形 40"/>
            <p:cNvSpPr/>
            <p:nvPr/>
          </p:nvSpPr>
          <p:spPr>
            <a:xfrm>
              <a:off x="3869354" y="1160134"/>
              <a:ext cx="1441786" cy="1441785"/>
            </a:xfrm>
            <a:prstGeom prst="roundRect">
              <a:avLst>
                <a:gd name="adj" fmla="val 62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42" name="圆角矩形 41"/>
            <p:cNvSpPr/>
            <p:nvPr/>
          </p:nvSpPr>
          <p:spPr>
            <a:xfrm>
              <a:off x="3876182" y="1166962"/>
              <a:ext cx="1428129" cy="1428128"/>
            </a:xfrm>
            <a:prstGeom prst="roundRect">
              <a:avLst>
                <a:gd name="adj" fmla="val 6257"/>
              </a:avLst>
            </a:prstGeom>
            <a:grpFill/>
            <a:ln>
              <a:noFill/>
            </a:ln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sp>
        <p:nvSpPr>
          <p:cNvPr id="46" name="矩形 4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2691399">
            <a:off x="6147372" y="4800385"/>
            <a:ext cx="1872776" cy="1653064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39000"/>
                </a:schemeClr>
              </a:gs>
              <a:gs pos="0">
                <a:schemeClr val="tx1">
                  <a:alpha val="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47" name="组合 4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965948" y="4351980"/>
            <a:ext cx="1382694" cy="1382692"/>
            <a:chOff x="3869354" y="1160133"/>
            <a:chExt cx="1441786" cy="1441784"/>
          </a:xfrm>
          <a:effectLst>
            <a:outerShdw blurRad="330200" sx="104000" sy="104000" algn="ctr" rotWithShape="0">
              <a:prstClr val="black">
                <a:alpha val="94000"/>
              </a:prstClr>
            </a:outerShdw>
          </a:effectLst>
        </p:grpSpPr>
        <p:sp>
          <p:nvSpPr>
            <p:cNvPr id="48" name="圆角矩形 47"/>
            <p:cNvSpPr/>
            <p:nvPr/>
          </p:nvSpPr>
          <p:spPr>
            <a:xfrm>
              <a:off x="3869354" y="1160133"/>
              <a:ext cx="1441786" cy="1441784"/>
            </a:xfrm>
            <a:prstGeom prst="roundRect">
              <a:avLst>
                <a:gd name="adj" fmla="val 6257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49" name="圆角矩形 48"/>
            <p:cNvSpPr/>
            <p:nvPr/>
          </p:nvSpPr>
          <p:spPr>
            <a:xfrm>
              <a:off x="3888247" y="1179025"/>
              <a:ext cx="1404000" cy="1404000"/>
            </a:xfrm>
            <a:prstGeom prst="roundRect">
              <a:avLst>
                <a:gd name="adj" fmla="val 6257"/>
              </a:avLst>
            </a:pr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50000">
                  <a:schemeClr val="bg1">
                    <a:lumMod val="85000"/>
                  </a:schemeClr>
                </a:gs>
                <a:gs pos="100000">
                  <a:schemeClr val="bg1"/>
                </a:gs>
              </a:gsLst>
              <a:lin ang="10800000" scaled="1"/>
            </a:gradFill>
            <a:ln>
              <a:noFill/>
            </a:ln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sp>
        <p:nvSpPr>
          <p:cNvPr id="50" name="矩形 4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2691399">
            <a:off x="6637010" y="4907625"/>
            <a:ext cx="1339793" cy="964288"/>
          </a:xfrm>
          <a:prstGeom prst="rect">
            <a:avLst/>
          </a:prstGeom>
          <a:gradFill flip="none" rotWithShape="1">
            <a:gsLst>
              <a:gs pos="100000">
                <a:schemeClr val="tx1">
                  <a:alpha val="39000"/>
                </a:schemeClr>
              </a:gs>
              <a:gs pos="0">
                <a:schemeClr val="tx1">
                  <a:alpha val="0"/>
                </a:schemeClr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51" name="组合 5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156448" y="4560370"/>
            <a:ext cx="1001694" cy="1001692"/>
            <a:chOff x="3869354" y="1185883"/>
            <a:chExt cx="1441786" cy="1441785"/>
          </a:xfrm>
          <a:solidFill>
            <a:schemeClr val="accent2"/>
          </a:solidFill>
          <a:effectLst>
            <a:outerShdw blurRad="330200" sx="102000" sy="102000" algn="ctr" rotWithShape="0">
              <a:prstClr val="black">
                <a:alpha val="94000"/>
              </a:prstClr>
            </a:outerShdw>
          </a:effectLst>
        </p:grpSpPr>
        <p:sp>
          <p:nvSpPr>
            <p:cNvPr id="52" name="圆角矩形 51"/>
            <p:cNvSpPr/>
            <p:nvPr/>
          </p:nvSpPr>
          <p:spPr>
            <a:xfrm>
              <a:off x="3869354" y="1185883"/>
              <a:ext cx="1441786" cy="1441785"/>
            </a:xfrm>
            <a:prstGeom prst="roundRect">
              <a:avLst>
                <a:gd name="adj" fmla="val 625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53" name="圆角矩形 52"/>
            <p:cNvSpPr/>
            <p:nvPr/>
          </p:nvSpPr>
          <p:spPr>
            <a:xfrm>
              <a:off x="3876182" y="1192711"/>
              <a:ext cx="1428129" cy="1428127"/>
            </a:xfrm>
            <a:prstGeom prst="roundRect">
              <a:avLst>
                <a:gd name="adj" fmla="val 6257"/>
              </a:avLst>
            </a:prstGeom>
            <a:grpFill/>
            <a:ln>
              <a:noFill/>
            </a:ln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sp>
        <p:nvSpPr>
          <p:cNvPr id="79" name="Shape 508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926299" y="4803201"/>
            <a:ext cx="339401" cy="598351"/>
          </a:xfrm>
          <a:custGeom>
            <a:avLst/>
            <a:gdLst/>
            <a:ahLst/>
            <a:cxnLst/>
            <a:rect l="0" t="0" r="0" b="0"/>
            <a:pathLst>
              <a:path w="119999" h="119999" extrusionOk="0">
                <a:moveTo>
                  <a:pt x="119577" y="27766"/>
                </a:moveTo>
                <a:lnTo>
                  <a:pt x="119577" y="27766"/>
                </a:lnTo>
                <a:cubicBezTo>
                  <a:pt x="119577" y="14969"/>
                  <a:pt x="119577" y="14969"/>
                  <a:pt x="119577" y="14969"/>
                </a:cubicBezTo>
                <a:cubicBezTo>
                  <a:pt x="119577" y="8450"/>
                  <a:pt x="93380" y="0"/>
                  <a:pt x="60000" y="0"/>
                </a:cubicBezTo>
                <a:cubicBezTo>
                  <a:pt x="25774" y="0"/>
                  <a:pt x="0" y="8450"/>
                  <a:pt x="0" y="14969"/>
                </a:cubicBezTo>
                <a:cubicBezTo>
                  <a:pt x="0" y="14969"/>
                  <a:pt x="0" y="14969"/>
                  <a:pt x="0" y="27766"/>
                </a:cubicBezTo>
                <a:cubicBezTo>
                  <a:pt x="0" y="40563"/>
                  <a:pt x="40985" y="51428"/>
                  <a:pt x="40985" y="59879"/>
                </a:cubicBezTo>
                <a:cubicBezTo>
                  <a:pt x="40985" y="70503"/>
                  <a:pt x="0" y="79195"/>
                  <a:pt x="0" y="91991"/>
                </a:cubicBezTo>
                <a:cubicBezTo>
                  <a:pt x="0" y="104788"/>
                  <a:pt x="0" y="106961"/>
                  <a:pt x="0" y="106961"/>
                </a:cubicBezTo>
                <a:cubicBezTo>
                  <a:pt x="0" y="111066"/>
                  <a:pt x="25774" y="119758"/>
                  <a:pt x="60000" y="119758"/>
                </a:cubicBezTo>
                <a:cubicBezTo>
                  <a:pt x="93380" y="119758"/>
                  <a:pt x="119577" y="111066"/>
                  <a:pt x="119577" y="106961"/>
                </a:cubicBezTo>
                <a:cubicBezTo>
                  <a:pt x="119577" y="106961"/>
                  <a:pt x="119577" y="104788"/>
                  <a:pt x="119577" y="91991"/>
                </a:cubicBezTo>
                <a:cubicBezTo>
                  <a:pt x="119577" y="79195"/>
                  <a:pt x="78591" y="70503"/>
                  <a:pt x="78591" y="59879"/>
                </a:cubicBezTo>
                <a:cubicBezTo>
                  <a:pt x="78591" y="51428"/>
                  <a:pt x="119577" y="40563"/>
                  <a:pt x="119577" y="27766"/>
                </a:cubicBezTo>
                <a:close/>
                <a:moveTo>
                  <a:pt x="18591" y="14969"/>
                </a:moveTo>
                <a:lnTo>
                  <a:pt x="18591" y="14969"/>
                </a:lnTo>
                <a:cubicBezTo>
                  <a:pt x="25774" y="12796"/>
                  <a:pt x="37183" y="8450"/>
                  <a:pt x="60000" y="8450"/>
                </a:cubicBezTo>
                <a:cubicBezTo>
                  <a:pt x="82394" y="8450"/>
                  <a:pt x="100985" y="14969"/>
                  <a:pt x="100985" y="14969"/>
                </a:cubicBezTo>
                <a:cubicBezTo>
                  <a:pt x="104788" y="14969"/>
                  <a:pt x="108591" y="17142"/>
                  <a:pt x="104788" y="17142"/>
                </a:cubicBezTo>
                <a:cubicBezTo>
                  <a:pt x="97183" y="21247"/>
                  <a:pt x="78591" y="23420"/>
                  <a:pt x="60000" y="23420"/>
                </a:cubicBezTo>
                <a:cubicBezTo>
                  <a:pt x="40985" y="23420"/>
                  <a:pt x="22394" y="21247"/>
                  <a:pt x="14788" y="17142"/>
                </a:cubicBezTo>
                <a:cubicBezTo>
                  <a:pt x="10985" y="17142"/>
                  <a:pt x="18591" y="14969"/>
                  <a:pt x="18591" y="14969"/>
                </a:cubicBezTo>
                <a:close/>
                <a:moveTo>
                  <a:pt x="63802" y="59879"/>
                </a:moveTo>
                <a:lnTo>
                  <a:pt x="63802" y="59879"/>
                </a:lnTo>
                <a:cubicBezTo>
                  <a:pt x="63802" y="68329"/>
                  <a:pt x="74788" y="72676"/>
                  <a:pt x="86197" y="79195"/>
                </a:cubicBezTo>
                <a:cubicBezTo>
                  <a:pt x="93380" y="83299"/>
                  <a:pt x="104788" y="89818"/>
                  <a:pt x="104788" y="91991"/>
                </a:cubicBezTo>
                <a:cubicBezTo>
                  <a:pt x="104788" y="100442"/>
                  <a:pt x="104788" y="100442"/>
                  <a:pt x="104788" y="100442"/>
                </a:cubicBezTo>
                <a:cubicBezTo>
                  <a:pt x="97183" y="98269"/>
                  <a:pt x="63802" y="94164"/>
                  <a:pt x="63802" y="85472"/>
                </a:cubicBezTo>
                <a:cubicBezTo>
                  <a:pt x="63802" y="81368"/>
                  <a:pt x="56197" y="81368"/>
                  <a:pt x="56197" y="85472"/>
                </a:cubicBezTo>
                <a:cubicBezTo>
                  <a:pt x="56197" y="94164"/>
                  <a:pt x="25774" y="98269"/>
                  <a:pt x="14788" y="100442"/>
                </a:cubicBezTo>
                <a:cubicBezTo>
                  <a:pt x="14788" y="91991"/>
                  <a:pt x="14788" y="91991"/>
                  <a:pt x="14788" y="91991"/>
                </a:cubicBezTo>
                <a:cubicBezTo>
                  <a:pt x="14788" y="89818"/>
                  <a:pt x="25774" y="83299"/>
                  <a:pt x="33802" y="79195"/>
                </a:cubicBezTo>
                <a:cubicBezTo>
                  <a:pt x="44788" y="72676"/>
                  <a:pt x="56197" y="68329"/>
                  <a:pt x="56197" y="59879"/>
                </a:cubicBezTo>
                <a:cubicBezTo>
                  <a:pt x="56197" y="53601"/>
                  <a:pt x="44788" y="49014"/>
                  <a:pt x="33802" y="42736"/>
                </a:cubicBezTo>
                <a:cubicBezTo>
                  <a:pt x="25774" y="38390"/>
                  <a:pt x="14788" y="31871"/>
                  <a:pt x="14788" y="27766"/>
                </a:cubicBezTo>
                <a:cubicBezTo>
                  <a:pt x="14788" y="21247"/>
                  <a:pt x="14788" y="21247"/>
                  <a:pt x="14788" y="21247"/>
                </a:cubicBezTo>
                <a:cubicBezTo>
                  <a:pt x="25774" y="25593"/>
                  <a:pt x="40985" y="27766"/>
                  <a:pt x="60000" y="27766"/>
                </a:cubicBezTo>
                <a:cubicBezTo>
                  <a:pt x="78591" y="27766"/>
                  <a:pt x="97183" y="25593"/>
                  <a:pt x="104788" y="21247"/>
                </a:cubicBezTo>
                <a:cubicBezTo>
                  <a:pt x="104788" y="27766"/>
                  <a:pt x="104788" y="27766"/>
                  <a:pt x="104788" y="27766"/>
                </a:cubicBezTo>
                <a:cubicBezTo>
                  <a:pt x="104788" y="31871"/>
                  <a:pt x="93380" y="38390"/>
                  <a:pt x="86197" y="42736"/>
                </a:cubicBezTo>
                <a:cubicBezTo>
                  <a:pt x="74788" y="49014"/>
                  <a:pt x="63802" y="53601"/>
                  <a:pt x="63802" y="5987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45700" tIns="22850" rIns="45700" bIns="22850" anchor="ctr" anchorCtr="0">
            <a:noAutofit/>
          </a:bodyPr>
          <a:lstStyle/>
          <a:p>
            <a:endParaRPr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83" name="Shape 509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332751" y="3163773"/>
            <a:ext cx="555772" cy="530453"/>
          </a:xfrm>
          <a:custGeom>
            <a:avLst/>
            <a:gdLst/>
            <a:ahLst/>
            <a:cxnLst/>
            <a:rect l="0" t="0" r="0" b="0"/>
            <a:pathLst>
              <a:path w="119999" h="119999" extrusionOk="0">
                <a:moveTo>
                  <a:pt x="94490" y="91015"/>
                </a:moveTo>
                <a:lnTo>
                  <a:pt x="94490" y="91015"/>
                </a:lnTo>
                <a:cubicBezTo>
                  <a:pt x="78351" y="83972"/>
                  <a:pt x="73926" y="79097"/>
                  <a:pt x="73926" y="67178"/>
                </a:cubicBezTo>
                <a:cubicBezTo>
                  <a:pt x="73926" y="62302"/>
                  <a:pt x="78351" y="64740"/>
                  <a:pt x="80694" y="52821"/>
                </a:cubicBezTo>
                <a:cubicBezTo>
                  <a:pt x="80694" y="47674"/>
                  <a:pt x="85379" y="52821"/>
                  <a:pt x="85379" y="40902"/>
                </a:cubicBezTo>
                <a:cubicBezTo>
                  <a:pt x="85379" y="35756"/>
                  <a:pt x="83036" y="35756"/>
                  <a:pt x="83036" y="35756"/>
                </a:cubicBezTo>
                <a:cubicBezTo>
                  <a:pt x="83036" y="35756"/>
                  <a:pt x="85379" y="28713"/>
                  <a:pt x="85379" y="23837"/>
                </a:cubicBezTo>
                <a:cubicBezTo>
                  <a:pt x="85379" y="16523"/>
                  <a:pt x="83036" y="0"/>
                  <a:pt x="59869" y="0"/>
                </a:cubicBezTo>
                <a:cubicBezTo>
                  <a:pt x="36702" y="0"/>
                  <a:pt x="34360" y="16523"/>
                  <a:pt x="34360" y="23837"/>
                </a:cubicBezTo>
                <a:cubicBezTo>
                  <a:pt x="34360" y="28713"/>
                  <a:pt x="36702" y="35756"/>
                  <a:pt x="36702" y="35756"/>
                </a:cubicBezTo>
                <a:cubicBezTo>
                  <a:pt x="36702" y="35756"/>
                  <a:pt x="34360" y="35756"/>
                  <a:pt x="34360" y="40902"/>
                </a:cubicBezTo>
                <a:cubicBezTo>
                  <a:pt x="34360" y="52821"/>
                  <a:pt x="39045" y="47674"/>
                  <a:pt x="39045" y="52821"/>
                </a:cubicBezTo>
                <a:cubicBezTo>
                  <a:pt x="41388" y="64740"/>
                  <a:pt x="46073" y="62302"/>
                  <a:pt x="46073" y="67178"/>
                </a:cubicBezTo>
                <a:cubicBezTo>
                  <a:pt x="46073" y="79097"/>
                  <a:pt x="41388" y="83972"/>
                  <a:pt x="25249" y="91015"/>
                </a:cubicBezTo>
                <a:cubicBezTo>
                  <a:pt x="9110" y="95891"/>
                  <a:pt x="0" y="102934"/>
                  <a:pt x="0" y="107810"/>
                </a:cubicBezTo>
                <a:cubicBezTo>
                  <a:pt x="0" y="110248"/>
                  <a:pt x="0" y="119729"/>
                  <a:pt x="0" y="119729"/>
                </a:cubicBezTo>
                <a:cubicBezTo>
                  <a:pt x="59869" y="119729"/>
                  <a:pt x="59869" y="119729"/>
                  <a:pt x="59869" y="119729"/>
                </a:cubicBezTo>
                <a:cubicBezTo>
                  <a:pt x="119739" y="119729"/>
                  <a:pt x="119739" y="119729"/>
                  <a:pt x="119739" y="119729"/>
                </a:cubicBezTo>
                <a:cubicBezTo>
                  <a:pt x="119739" y="119729"/>
                  <a:pt x="119739" y="110248"/>
                  <a:pt x="119739" y="107810"/>
                </a:cubicBezTo>
                <a:cubicBezTo>
                  <a:pt x="119739" y="102934"/>
                  <a:pt x="110629" y="95891"/>
                  <a:pt x="94490" y="91015"/>
                </a:cubicBezTo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45700" tIns="22850" rIns="45700" bIns="22850" anchor="ctr" anchorCtr="0">
            <a:noAutofit/>
          </a:bodyPr>
          <a:lstStyle/>
          <a:p>
            <a:endParaRPr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94" name="Shape 512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818114" y="1631444"/>
            <a:ext cx="555772" cy="492262"/>
          </a:xfrm>
          <a:custGeom>
            <a:avLst/>
            <a:gdLst/>
            <a:ahLst/>
            <a:cxnLst/>
            <a:rect l="0" t="0" r="0" b="0"/>
            <a:pathLst>
              <a:path w="119999" h="119999" extrusionOk="0">
                <a:moveTo>
                  <a:pt x="117396" y="62493"/>
                </a:moveTo>
                <a:lnTo>
                  <a:pt x="117396" y="62493"/>
                </a:lnTo>
                <a:cubicBezTo>
                  <a:pt x="64295" y="4987"/>
                  <a:pt x="64295" y="4987"/>
                  <a:pt x="64295" y="4987"/>
                </a:cubicBezTo>
                <a:cubicBezTo>
                  <a:pt x="61952" y="0"/>
                  <a:pt x="57527" y="0"/>
                  <a:pt x="55184" y="4987"/>
                </a:cubicBezTo>
                <a:cubicBezTo>
                  <a:pt x="2342" y="62493"/>
                  <a:pt x="2342" y="62493"/>
                  <a:pt x="2342" y="62493"/>
                </a:cubicBezTo>
                <a:cubicBezTo>
                  <a:pt x="0" y="64841"/>
                  <a:pt x="2342" y="67481"/>
                  <a:pt x="4685" y="67481"/>
                </a:cubicBezTo>
                <a:cubicBezTo>
                  <a:pt x="16138" y="67481"/>
                  <a:pt x="16138" y="67481"/>
                  <a:pt x="16138" y="67481"/>
                </a:cubicBezTo>
                <a:cubicBezTo>
                  <a:pt x="16138" y="114425"/>
                  <a:pt x="16138" y="114425"/>
                  <a:pt x="16138" y="114425"/>
                </a:cubicBezTo>
                <a:cubicBezTo>
                  <a:pt x="16138" y="117066"/>
                  <a:pt x="16138" y="119706"/>
                  <a:pt x="20563" y="119706"/>
                </a:cubicBezTo>
                <a:cubicBezTo>
                  <a:pt x="46073" y="119706"/>
                  <a:pt x="46073" y="119706"/>
                  <a:pt x="46073" y="119706"/>
                </a:cubicBezTo>
                <a:cubicBezTo>
                  <a:pt x="46073" y="72762"/>
                  <a:pt x="46073" y="72762"/>
                  <a:pt x="46073" y="72762"/>
                </a:cubicBezTo>
                <a:cubicBezTo>
                  <a:pt x="73665" y="72762"/>
                  <a:pt x="73665" y="72762"/>
                  <a:pt x="73665" y="72762"/>
                </a:cubicBezTo>
                <a:cubicBezTo>
                  <a:pt x="73665" y="119706"/>
                  <a:pt x="73665" y="119706"/>
                  <a:pt x="73665" y="119706"/>
                </a:cubicBezTo>
                <a:cubicBezTo>
                  <a:pt x="99175" y="119706"/>
                  <a:pt x="99175" y="119706"/>
                  <a:pt x="99175" y="119706"/>
                </a:cubicBezTo>
                <a:cubicBezTo>
                  <a:pt x="103600" y="119706"/>
                  <a:pt x="103600" y="117066"/>
                  <a:pt x="103600" y="114425"/>
                </a:cubicBezTo>
                <a:cubicBezTo>
                  <a:pt x="103600" y="67481"/>
                  <a:pt x="103600" y="67481"/>
                  <a:pt x="103600" y="67481"/>
                </a:cubicBezTo>
                <a:cubicBezTo>
                  <a:pt x="115314" y="67481"/>
                  <a:pt x="115314" y="67481"/>
                  <a:pt x="115314" y="67481"/>
                </a:cubicBezTo>
                <a:cubicBezTo>
                  <a:pt x="117396" y="67481"/>
                  <a:pt x="119739" y="64841"/>
                  <a:pt x="117396" y="62493"/>
                </a:cubicBezTo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45700" tIns="22850" rIns="45700" bIns="22850" anchor="ctr" anchorCtr="0">
            <a:noAutofit/>
          </a:bodyPr>
          <a:lstStyle/>
          <a:p>
            <a:endParaRPr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96" name="Shape 518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397348" y="3176504"/>
            <a:ext cx="500614" cy="504992"/>
          </a:xfrm>
          <a:custGeom>
            <a:avLst/>
            <a:gdLst/>
            <a:ahLst/>
            <a:cxnLst/>
            <a:rect l="0" t="0" r="0" b="0"/>
            <a:pathLst>
              <a:path w="119999" h="119999" extrusionOk="0">
                <a:moveTo>
                  <a:pt x="50813" y="0"/>
                </a:moveTo>
                <a:lnTo>
                  <a:pt x="50813" y="0"/>
                </a:lnTo>
                <a:cubicBezTo>
                  <a:pt x="22966" y="2589"/>
                  <a:pt x="2583" y="25323"/>
                  <a:pt x="0" y="50647"/>
                </a:cubicBezTo>
                <a:cubicBezTo>
                  <a:pt x="50813" y="50647"/>
                  <a:pt x="50813" y="50647"/>
                  <a:pt x="50813" y="50647"/>
                </a:cubicBezTo>
                <a:lnTo>
                  <a:pt x="50813" y="0"/>
                </a:lnTo>
                <a:close/>
                <a:moveTo>
                  <a:pt x="66028" y="0"/>
                </a:moveTo>
                <a:lnTo>
                  <a:pt x="66028" y="0"/>
                </a:lnTo>
                <a:cubicBezTo>
                  <a:pt x="66028" y="58417"/>
                  <a:pt x="66028" y="58417"/>
                  <a:pt x="66028" y="58417"/>
                </a:cubicBezTo>
                <a:cubicBezTo>
                  <a:pt x="66028" y="63597"/>
                  <a:pt x="63732" y="65899"/>
                  <a:pt x="58564" y="65899"/>
                </a:cubicBezTo>
                <a:cubicBezTo>
                  <a:pt x="0" y="65899"/>
                  <a:pt x="0" y="65899"/>
                  <a:pt x="0" y="65899"/>
                </a:cubicBezTo>
                <a:cubicBezTo>
                  <a:pt x="2583" y="96690"/>
                  <a:pt x="28133" y="119712"/>
                  <a:pt x="58564" y="119712"/>
                </a:cubicBezTo>
                <a:cubicBezTo>
                  <a:pt x="91578" y="119712"/>
                  <a:pt x="119712" y="91798"/>
                  <a:pt x="119712" y="58417"/>
                </a:cubicBezTo>
                <a:cubicBezTo>
                  <a:pt x="119712" y="27913"/>
                  <a:pt x="96746" y="2589"/>
                  <a:pt x="66028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45700" tIns="22850" rIns="45700" bIns="22850" anchor="ctr" anchorCtr="0">
            <a:noAutofit/>
          </a:bodyPr>
          <a:lstStyle/>
          <a:p>
            <a:endParaRPr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6" name="文本框 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4360985" y="1441939"/>
            <a:ext cx="49404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S</a:t>
            </a:r>
            <a:endParaRPr lang="zh-CN" altLang="en-US" sz="4000" b="1" dirty="0">
              <a:solidFill>
                <a:schemeClr val="bg1"/>
              </a:solidFill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97" name="文本框 9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4232032" y="4636478"/>
            <a:ext cx="73609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W</a:t>
            </a:r>
            <a:endParaRPr lang="zh-CN" altLang="en-US" sz="4000" b="1" dirty="0">
              <a:solidFill>
                <a:schemeClr val="bg1"/>
              </a:solidFill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98" name="文本框 9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7414847" y="1471246"/>
            <a:ext cx="50526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T</a:t>
            </a:r>
            <a:endParaRPr lang="zh-CN" altLang="en-US" sz="4000" b="1" dirty="0">
              <a:solidFill>
                <a:schemeClr val="bg1"/>
              </a:solidFill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99" name="文本框 9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7285894" y="4665785"/>
            <a:ext cx="60465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b="1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O</a:t>
            </a:r>
            <a:endParaRPr lang="zh-CN" altLang="en-US" sz="4000" b="1" dirty="0">
              <a:solidFill>
                <a:schemeClr val="bg1"/>
              </a:solidFill>
              <a:latin typeface="+mj-ea"/>
              <a:ea typeface="+mj-ea"/>
              <a:cs typeface="等线" panose="02010600030101010101" charset="-122"/>
            </a:endParaRPr>
          </a:p>
        </p:txBody>
      </p:sp>
      <p:grpSp>
        <p:nvGrpSpPr>
          <p:cNvPr id="100" name="Group 5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460341" y="1385187"/>
            <a:ext cx="2405949" cy="878921"/>
            <a:chOff x="9951197" y="2095899"/>
            <a:chExt cx="2060116" cy="878921"/>
          </a:xfrm>
        </p:grpSpPr>
        <p:sp>
          <p:nvSpPr>
            <p:cNvPr id="101" name="Rectangle 59"/>
            <p:cNvSpPr/>
            <p:nvPr/>
          </p:nvSpPr>
          <p:spPr>
            <a:xfrm>
              <a:off x="9951197" y="2095899"/>
              <a:ext cx="206011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id-ID" b="1" dirty="0">
                  <a:solidFill>
                    <a:schemeClr val="accent2">
                      <a:lumMod val="7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Strengths</a:t>
              </a:r>
            </a:p>
          </p:txBody>
        </p:sp>
        <p:sp>
          <p:nvSpPr>
            <p:cNvPr id="102" name="Rectangle 60"/>
            <p:cNvSpPr/>
            <p:nvPr/>
          </p:nvSpPr>
          <p:spPr>
            <a:xfrm>
              <a:off x="10131881" y="2391327"/>
              <a:ext cx="1878149" cy="5834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>
                <a:lnSpc>
                  <a:spcPct val="114000"/>
                </a:lnSpc>
                <a:defRPr/>
              </a:pPr>
              <a:r>
                <a:rPr lang="id-ID" sz="1400" dirty="0">
                  <a:solidFill>
                    <a:schemeClr val="accent2">
                      <a:lumMod val="7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Ut wisi enim ad minim venian hargsa</a:t>
              </a:r>
            </a:p>
          </p:txBody>
        </p:sp>
      </p:grpSp>
      <p:grpSp>
        <p:nvGrpSpPr>
          <p:cNvPr id="103" name="Group 6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34963" y="4370376"/>
            <a:ext cx="2707769" cy="1389998"/>
            <a:chOff x="8633951" y="3129195"/>
            <a:chExt cx="3376079" cy="1389998"/>
          </a:xfrm>
        </p:grpSpPr>
        <p:sp>
          <p:nvSpPr>
            <p:cNvPr id="104" name="Rectangle 62"/>
            <p:cNvSpPr/>
            <p:nvPr/>
          </p:nvSpPr>
          <p:spPr>
            <a:xfrm>
              <a:off x="9901616" y="3129195"/>
              <a:ext cx="206011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id-ID" b="1" dirty="0">
                  <a:solidFill>
                    <a:schemeClr val="accent2">
                      <a:lumMod val="7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Weakness</a:t>
              </a:r>
            </a:p>
          </p:txBody>
        </p:sp>
        <p:sp>
          <p:nvSpPr>
            <p:cNvPr id="105" name="Rectangle 63"/>
            <p:cNvSpPr/>
            <p:nvPr/>
          </p:nvSpPr>
          <p:spPr>
            <a:xfrm>
              <a:off x="8633951" y="3463198"/>
              <a:ext cx="3376079" cy="1055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>
                <a:lnSpc>
                  <a:spcPct val="114000"/>
                </a:lnSpc>
                <a:defRPr/>
              </a:pPr>
              <a:r>
                <a:rPr lang="id-ID" sz="1400" dirty="0">
                  <a:solidFill>
                    <a:schemeClr val="accent2">
                      <a:lumMod val="7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Ut wisi enim ad minim veniam, quis nostrud exerci tation ullamcorper nibh euismod</a:t>
              </a:r>
            </a:p>
          </p:txBody>
        </p:sp>
      </p:grpSp>
      <p:grpSp>
        <p:nvGrpSpPr>
          <p:cNvPr id="106" name="Group 6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772152" y="1306837"/>
            <a:ext cx="3084887" cy="1109250"/>
            <a:chOff x="7048859" y="4145287"/>
            <a:chExt cx="4483499" cy="1109250"/>
          </a:xfrm>
        </p:grpSpPr>
        <p:sp>
          <p:nvSpPr>
            <p:cNvPr id="107" name="Rectangle 65"/>
            <p:cNvSpPr/>
            <p:nvPr/>
          </p:nvSpPr>
          <p:spPr>
            <a:xfrm>
              <a:off x="7048859" y="4145287"/>
              <a:ext cx="3070583" cy="3812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d-ID" b="1" dirty="0">
                  <a:solidFill>
                    <a:schemeClr val="accent2">
                      <a:lumMod val="7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Opportunities</a:t>
              </a:r>
            </a:p>
          </p:txBody>
        </p:sp>
        <p:sp>
          <p:nvSpPr>
            <p:cNvPr id="108" name="Rectangle 66"/>
            <p:cNvSpPr/>
            <p:nvPr/>
          </p:nvSpPr>
          <p:spPr>
            <a:xfrm>
              <a:off x="7064872" y="4444122"/>
              <a:ext cx="4467486" cy="8104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14000"/>
                </a:lnSpc>
                <a:defRPr/>
              </a:pPr>
              <a:r>
                <a:rPr lang="id-ID" sz="1400" dirty="0">
                  <a:solidFill>
                    <a:schemeClr val="accent2">
                      <a:lumMod val="7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Ut wisi enim ad minim veniam, quis nostrud exerci tation ullamcorper nibh euismod</a:t>
              </a:r>
            </a:p>
          </p:txBody>
        </p:sp>
      </p:grpSp>
      <p:grpSp>
        <p:nvGrpSpPr>
          <p:cNvPr id="109" name="Group 6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828494" y="4511481"/>
            <a:ext cx="3028544" cy="1109249"/>
            <a:chOff x="5522586" y="5222192"/>
            <a:chExt cx="4483498" cy="1109249"/>
          </a:xfrm>
        </p:grpSpPr>
        <p:sp>
          <p:nvSpPr>
            <p:cNvPr id="110" name="Rectangle 68"/>
            <p:cNvSpPr/>
            <p:nvPr/>
          </p:nvSpPr>
          <p:spPr>
            <a:xfrm>
              <a:off x="5522586" y="5222192"/>
              <a:ext cx="206011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d-ID" b="1" dirty="0">
                  <a:solidFill>
                    <a:schemeClr val="accent2">
                      <a:lumMod val="7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Threats</a:t>
              </a:r>
            </a:p>
          </p:txBody>
        </p:sp>
        <p:sp>
          <p:nvSpPr>
            <p:cNvPr id="111" name="Rectangle 69"/>
            <p:cNvSpPr/>
            <p:nvPr/>
          </p:nvSpPr>
          <p:spPr>
            <a:xfrm>
              <a:off x="5538598" y="5521026"/>
              <a:ext cx="4467486" cy="81041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14000"/>
                </a:lnSpc>
                <a:defRPr/>
              </a:pPr>
              <a:r>
                <a:rPr lang="id-ID" sz="1400" dirty="0">
                  <a:solidFill>
                    <a:schemeClr val="accent2">
                      <a:lumMod val="7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Ut wisi enim ad minim veniam, quis nostrud exerci tation ullamcorper nibh euismod</a:t>
              </a:r>
            </a:p>
          </p:txBody>
        </p:sp>
      </p:grpSp>
      <p:sp>
        <p:nvSpPr>
          <p:cNvPr id="7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2000">
        <p:random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 advTm="2000">
        <p:random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5400000">
            <a:off x="10257433" y="560987"/>
            <a:ext cx="1056585" cy="281254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39" name="Flowchart: Data 3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616043" y="866003"/>
            <a:ext cx="1578429" cy="1629548"/>
          </a:xfrm>
          <a:prstGeom prst="flowChartInputOutput">
            <a:avLst/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622300" dist="38100" dir="18900000" algn="b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41" name="Rectangle 4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5400000">
            <a:off x="9587256" y="947394"/>
            <a:ext cx="1056585" cy="4152899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42" name="Flowchart: Data 4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012214" y="1910171"/>
            <a:ext cx="1578429" cy="1629548"/>
          </a:xfrm>
          <a:prstGeom prst="flowChartInputOutpu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622300" dist="38100" dir="18900000" algn="b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44" name="Rectangle 4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5400000">
            <a:off x="8787155" y="1145258"/>
            <a:ext cx="1056585" cy="5753097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45" name="Flowchart: Data 4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417457" y="2920832"/>
            <a:ext cx="1578429" cy="1629548"/>
          </a:xfrm>
          <a:prstGeom prst="flowChartInputOutput">
            <a:avLst/>
          </a:prstGeo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622300" dist="38100" dir="18900000" algn="b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47" name="Rectangle 4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5400000">
            <a:off x="7929905" y="1344592"/>
            <a:ext cx="1056585" cy="7467598"/>
          </a:xfrm>
          <a:prstGeom prst="rect">
            <a:avLst/>
          </a:prstGeom>
          <a:gradFill>
            <a:gsLst>
              <a:gs pos="0">
                <a:schemeClr val="accent5"/>
              </a:gs>
              <a:gs pos="100000">
                <a:schemeClr val="accent5">
                  <a:lumMod val="7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48" name="Flowchart: Data 4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3817257" y="3977416"/>
            <a:ext cx="1578429" cy="1629548"/>
          </a:xfrm>
          <a:prstGeom prst="flowChartInputOutput">
            <a:avLst/>
          </a:prstGeom>
          <a:gradFill>
            <a:gsLst>
              <a:gs pos="0">
                <a:schemeClr val="accent5"/>
              </a:gs>
              <a:gs pos="100000">
                <a:schemeClr val="accent5">
                  <a:lumMod val="75000"/>
                </a:schemeClr>
              </a:gs>
            </a:gsLst>
            <a:lin ang="5400000" scaled="1"/>
          </a:gradFill>
          <a:ln>
            <a:noFill/>
          </a:ln>
          <a:effectLst>
            <a:outerShdw blurRad="622300" dist="38100" dir="18900000" algn="bl" rotWithShape="0">
              <a:prstClr val="black">
                <a:alpha val="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latin typeface="+mj-ea"/>
              <a:ea typeface="+mj-ea"/>
              <a:cs typeface="等线" panose="02010600030101010101" charset="-122"/>
            </a:endParaRPr>
          </a:p>
        </p:txBody>
      </p:sp>
      <p:grpSp>
        <p:nvGrpSpPr>
          <p:cNvPr id="59" name="Group 5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0131881" y="1561034"/>
            <a:ext cx="2060116" cy="791189"/>
            <a:chOff x="10131881" y="2113484"/>
            <a:chExt cx="2060116" cy="791189"/>
          </a:xfrm>
        </p:grpSpPr>
        <p:sp>
          <p:nvSpPr>
            <p:cNvPr id="60" name="Rectangle 59"/>
            <p:cNvSpPr/>
            <p:nvPr/>
          </p:nvSpPr>
          <p:spPr>
            <a:xfrm>
              <a:off x="10131881" y="2113484"/>
              <a:ext cx="206011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d-ID" sz="1600" b="1" dirty="0">
                  <a:solidFill>
                    <a:schemeClr val="bg1"/>
                  </a:solidFill>
                  <a:latin typeface="+mj-ea"/>
                  <a:ea typeface="+mj-ea"/>
                  <a:cs typeface="等线" panose="02010600030101010101" charset="-122"/>
                </a:rPr>
                <a:t>Strengths</a:t>
              </a: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10131881" y="2391327"/>
              <a:ext cx="1878149" cy="5133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14000"/>
                </a:lnSpc>
                <a:defRPr/>
              </a:pPr>
              <a:r>
                <a:rPr lang="id-ID" sz="1200" dirty="0">
                  <a:solidFill>
                    <a:schemeClr val="bg1"/>
                  </a:solidFill>
                  <a:latin typeface="+mj-ea"/>
                  <a:ea typeface="+mj-ea"/>
                  <a:cs typeface="等线" panose="02010600030101010101" charset="-122"/>
                </a:rPr>
                <a:t>Ut wisi enim ad minim venian hargsa</a:t>
              </a:r>
            </a:p>
          </p:txBody>
        </p:sp>
      </p:grpSp>
      <p:grpSp>
        <p:nvGrpSpPr>
          <p:cNvPr id="62" name="Group 6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617939" y="2611914"/>
            <a:ext cx="3392091" cy="1022687"/>
            <a:chOff x="8617939" y="3164364"/>
            <a:chExt cx="3392091" cy="1022687"/>
          </a:xfrm>
        </p:grpSpPr>
        <p:sp>
          <p:nvSpPr>
            <p:cNvPr id="63" name="Rectangle 62"/>
            <p:cNvSpPr/>
            <p:nvPr/>
          </p:nvSpPr>
          <p:spPr>
            <a:xfrm>
              <a:off x="8617939" y="3164364"/>
              <a:ext cx="206011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d-ID" sz="1600" b="1" dirty="0">
                  <a:solidFill>
                    <a:schemeClr val="bg1"/>
                  </a:solidFill>
                  <a:latin typeface="+mj-ea"/>
                  <a:ea typeface="+mj-ea"/>
                  <a:cs typeface="等线" panose="02010600030101010101" charset="-122"/>
                </a:rPr>
                <a:t>Weakness</a:t>
              </a: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8633951" y="3463198"/>
              <a:ext cx="3376079" cy="7238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14000"/>
                </a:lnSpc>
                <a:defRPr/>
              </a:pPr>
              <a:r>
                <a:rPr lang="id-ID" sz="1200" dirty="0">
                  <a:solidFill>
                    <a:schemeClr val="bg1"/>
                  </a:solidFill>
                  <a:latin typeface="+mj-ea"/>
                  <a:ea typeface="+mj-ea"/>
                  <a:cs typeface="等线" panose="02010600030101010101" charset="-122"/>
                </a:rPr>
                <a:t>Ut wisi enim ad minim veniam, quis nostrud exerci tation ullamcorper nibh euismod</a:t>
              </a:r>
            </a:p>
          </p:txBody>
        </p:sp>
      </p:grpSp>
      <p:grpSp>
        <p:nvGrpSpPr>
          <p:cNvPr id="65" name="Group 6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048860" y="3592838"/>
            <a:ext cx="4483498" cy="812180"/>
            <a:chOff x="7048860" y="4145288"/>
            <a:chExt cx="4483498" cy="812180"/>
          </a:xfrm>
        </p:grpSpPr>
        <p:sp>
          <p:nvSpPr>
            <p:cNvPr id="66" name="Rectangle 65"/>
            <p:cNvSpPr/>
            <p:nvPr/>
          </p:nvSpPr>
          <p:spPr>
            <a:xfrm>
              <a:off x="7048860" y="4145288"/>
              <a:ext cx="206011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d-ID" sz="1600" dirty="0">
                  <a:solidFill>
                    <a:schemeClr val="bg1"/>
                  </a:solidFill>
                  <a:latin typeface="+mj-ea"/>
                  <a:ea typeface="+mj-ea"/>
                  <a:cs typeface="等线" panose="02010600030101010101" charset="-122"/>
                </a:rPr>
                <a:t>Opportunities</a:t>
              </a: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7064872" y="4444122"/>
              <a:ext cx="4467486" cy="5133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14000"/>
                </a:lnSpc>
                <a:defRPr/>
              </a:pPr>
              <a:r>
                <a:rPr lang="id-ID" sz="1200" dirty="0">
                  <a:solidFill>
                    <a:schemeClr val="bg1"/>
                  </a:solidFill>
                  <a:latin typeface="+mj-ea"/>
                  <a:ea typeface="+mj-ea"/>
                  <a:cs typeface="等线" panose="02010600030101010101" charset="-122"/>
                </a:rPr>
                <a:t>Ut wisi enim ad minim veniam, quis nostrud exerci tation ullamcorper nibh euismod</a:t>
              </a:r>
            </a:p>
          </p:txBody>
        </p:sp>
      </p:grpSp>
      <p:grpSp>
        <p:nvGrpSpPr>
          <p:cNvPr id="68" name="Group 6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522586" y="4669742"/>
            <a:ext cx="4483498" cy="812180"/>
            <a:chOff x="5522586" y="5222192"/>
            <a:chExt cx="4483498" cy="812180"/>
          </a:xfrm>
        </p:grpSpPr>
        <p:sp>
          <p:nvSpPr>
            <p:cNvPr id="69" name="Rectangle 68"/>
            <p:cNvSpPr/>
            <p:nvPr/>
          </p:nvSpPr>
          <p:spPr>
            <a:xfrm>
              <a:off x="5522586" y="5222192"/>
              <a:ext cx="206011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d-ID" sz="1600" b="1" dirty="0">
                  <a:solidFill>
                    <a:schemeClr val="bg1"/>
                  </a:solidFill>
                  <a:latin typeface="+mj-ea"/>
                  <a:ea typeface="+mj-ea"/>
                  <a:cs typeface="等线" panose="02010600030101010101" charset="-122"/>
                </a:rPr>
                <a:t>Threats</a:t>
              </a: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5538598" y="5521026"/>
              <a:ext cx="4467486" cy="5133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lnSpc>
                  <a:spcPct val="114000"/>
                </a:lnSpc>
                <a:defRPr/>
              </a:pPr>
              <a:r>
                <a:rPr lang="id-ID" sz="1200" dirty="0">
                  <a:solidFill>
                    <a:schemeClr val="bg1"/>
                  </a:solidFill>
                  <a:latin typeface="+mj-ea"/>
                  <a:ea typeface="+mj-ea"/>
                  <a:cs typeface="等线" panose="02010600030101010101" charset="-122"/>
                </a:rPr>
                <a:t>Ut wisi enim ad minim veniam, quis nostrud exerci tation ullamcorper nibh euismod</a:t>
              </a:r>
            </a:p>
          </p:txBody>
        </p:sp>
      </p:grpSp>
      <p:sp>
        <p:nvSpPr>
          <p:cNvPr id="71" name="Title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841828" y="1091740"/>
            <a:ext cx="4290785" cy="74713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cs typeface="等线" panose="02010600030101010101" charset="-122"/>
              </a:rPr>
              <a:t>SWOT</a:t>
            </a:r>
            <a:endParaRPr lang="id-ID" b="1" dirty="0">
              <a:solidFill>
                <a:schemeClr val="tx1">
                  <a:lumMod val="75000"/>
                  <a:lumOff val="25000"/>
                </a:schemeClr>
              </a:solidFill>
              <a:latin typeface="+mj-ea"/>
              <a:cs typeface="等线" panose="02010600030101010101" charset="-122"/>
            </a:endParaRPr>
          </a:p>
        </p:txBody>
      </p:sp>
      <p:sp>
        <p:nvSpPr>
          <p:cNvPr id="72" name="Text Placeholder 1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841828" y="1708351"/>
            <a:ext cx="4290785" cy="58741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id-ID" sz="4000" spc="600" dirty="0">
                <a:solidFill>
                  <a:schemeClr val="tx1">
                    <a:lumMod val="75000"/>
                    <a:lumOff val="25000"/>
                  </a:schemeClr>
                </a:solidFill>
                <a:latin typeface="+mj-ea"/>
                <a:ea typeface="+mj-ea"/>
                <a:cs typeface="等线" panose="02010600030101010101" charset="-122"/>
              </a:rPr>
              <a:t>ANALISYS</a:t>
            </a:r>
          </a:p>
        </p:txBody>
      </p:sp>
      <p:sp>
        <p:nvSpPr>
          <p:cNvPr id="74" name="Rectangle 7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770257" y="1308223"/>
            <a:ext cx="1219200" cy="110799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S</a:t>
            </a:r>
          </a:p>
        </p:txBody>
      </p:sp>
      <p:sp>
        <p:nvSpPr>
          <p:cNvPr id="75" name="Rectangle 7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572591" y="3327145"/>
            <a:ext cx="1219200" cy="110799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O</a:t>
            </a:r>
          </a:p>
        </p:txBody>
      </p:sp>
      <p:sp>
        <p:nvSpPr>
          <p:cNvPr id="76" name="Rectangle 7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191828" y="2354098"/>
            <a:ext cx="1219200" cy="110799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W</a:t>
            </a:r>
          </a:p>
        </p:txBody>
      </p:sp>
      <p:sp>
        <p:nvSpPr>
          <p:cNvPr id="77" name="Rectangle 7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3996871" y="4414578"/>
            <a:ext cx="1219200" cy="110799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6600" b="1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T</a:t>
            </a:r>
          </a:p>
        </p:txBody>
      </p:sp>
      <p:sp>
        <p:nvSpPr>
          <p:cNvPr id="29" name="Rectangle: Rounded Corners 2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15320" y="5310039"/>
            <a:ext cx="1402161" cy="382372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solidFill>
                  <a:schemeClr val="tx2"/>
                </a:solidFill>
                <a:cs typeface="等线" panose="02010600030101010101" charset="-122"/>
              </a:rPr>
              <a:t>Read Here</a:t>
            </a:r>
          </a:p>
        </p:txBody>
      </p:sp>
      <p:sp>
        <p:nvSpPr>
          <p:cNvPr id="30" name="TextBox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flipH="1">
            <a:off x="887074" y="3153439"/>
            <a:ext cx="3087049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20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This is a sample text. insert your desired text here. Again. this is a dummy text. enter your own text here. This is a sample text. insert your desired text here. Again. this is a dummy text. enter your own text here. .</a:t>
            </a:r>
          </a:p>
        </p:txBody>
      </p:sp>
      <p:grpSp>
        <p:nvGrpSpPr>
          <p:cNvPr id="31" name="组合 3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933581" y="2582451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32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33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34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1"/>
            </p:custDataLst>
          </p:nvPr>
        </p:nvSpPr>
        <p:spPr>
          <a:xfrm>
            <a:off x="861935" y="2186534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4" name="图片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530" y="0"/>
            <a:ext cx="10058400" cy="6714778"/>
          </a:xfrm>
          <a:prstGeom prst="rect">
            <a:avLst/>
          </a:prstGeom>
        </p:spPr>
      </p:pic>
      <p:sp>
        <p:nvSpPr>
          <p:cNvPr id="5" name="文本框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817511" y="3152001"/>
            <a:ext cx="9156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  <a:cs typeface="等线" panose="02010600030101010101" charset="-122"/>
              </a:rPr>
              <a:t>PART ONE</a:t>
            </a:r>
            <a:endParaRPr lang="zh-CN" altLang="en-US" sz="12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6" name="Shape 7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886560" y="3441728"/>
            <a:ext cx="1533973" cy="16927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ctr">
            <a:spAutoFit/>
          </a:bodyPr>
          <a:lstStyle>
            <a:lvl1pPr algn="l" defTabSz="1828800">
              <a:defRPr sz="4000">
                <a:solidFill>
                  <a:srgbClr val="C597A2"/>
                </a:solidFill>
                <a:latin typeface="Bodoni SvtyTwo ITC TT-Book"/>
                <a:ea typeface="Bodoni SvtyTwo ITC TT-Book"/>
                <a:cs typeface="Bodoni SvtyTwo ITC TT-Book"/>
                <a:sym typeface="Bodoni SvtyTwo ITC TT-Book"/>
              </a:defRPr>
            </a:lvl1pPr>
          </a:lstStyle>
          <a:p>
            <a:r>
              <a:rPr sz="1100" dirty="0">
                <a:solidFill>
                  <a:schemeClr val="bg1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The Opening Section</a:t>
            </a:r>
          </a:p>
        </p:txBody>
      </p:sp>
      <p:sp>
        <p:nvSpPr>
          <p:cNvPr id="7" name="文本框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685822" y="1746534"/>
            <a:ext cx="9332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  <a:cs typeface="等线" panose="02010600030101010101" charset="-122"/>
              </a:rPr>
              <a:t>PART TWO</a:t>
            </a:r>
            <a:endParaRPr lang="zh-CN" altLang="en-US" sz="12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8" name="Shape 7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3754871" y="1951623"/>
            <a:ext cx="1533973" cy="338554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ctr">
            <a:spAutoFit/>
          </a:bodyPr>
          <a:lstStyle>
            <a:lvl1pPr algn="l" defTabSz="1828800">
              <a:defRPr sz="4000">
                <a:solidFill>
                  <a:srgbClr val="C597A2"/>
                </a:solidFill>
                <a:latin typeface="Bodoni SvtyTwo ITC TT-Book"/>
                <a:ea typeface="Bodoni SvtyTwo ITC TT-Book"/>
                <a:cs typeface="Bodoni SvtyTwo ITC TT-Book"/>
                <a:sym typeface="Bodoni SvtyTwo ITC TT-Book"/>
              </a:defRPr>
            </a:lvl1pPr>
          </a:lstStyle>
          <a:p>
            <a:r>
              <a:rPr lang="en-US" sz="1100" dirty="0">
                <a:solidFill>
                  <a:schemeClr val="bg1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The Images And Text section</a:t>
            </a:r>
          </a:p>
        </p:txBody>
      </p:sp>
      <p:sp>
        <p:nvSpPr>
          <p:cNvPr id="9" name="文本框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5633156" y="1357067"/>
            <a:ext cx="10150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  <a:cs typeface="等线" panose="02010600030101010101" charset="-122"/>
              </a:rPr>
              <a:t>PART THREE</a:t>
            </a:r>
            <a:endParaRPr lang="zh-CN" altLang="en-US" sz="12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0" name="Shape 7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702205" y="1646794"/>
            <a:ext cx="1533973" cy="16927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ctr">
            <a:spAutoFit/>
          </a:bodyPr>
          <a:lstStyle>
            <a:lvl1pPr algn="l" defTabSz="1828800">
              <a:defRPr sz="4000">
                <a:solidFill>
                  <a:srgbClr val="C597A2"/>
                </a:solidFill>
                <a:latin typeface="Bodoni SvtyTwo ITC TT-Book"/>
                <a:ea typeface="Bodoni SvtyTwo ITC TT-Book"/>
                <a:cs typeface="Bodoni SvtyTwo ITC TT-Book"/>
                <a:sym typeface="Bodoni SvtyTwo ITC TT-Book"/>
              </a:defRPr>
            </a:lvl1pPr>
          </a:lstStyle>
          <a:p>
            <a:r>
              <a:rPr lang="en-US" sz="1100" dirty="0">
                <a:solidFill>
                  <a:schemeClr val="bg1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Our Team</a:t>
            </a:r>
          </a:p>
        </p:txBody>
      </p:sp>
      <p:sp>
        <p:nvSpPr>
          <p:cNvPr id="11" name="文本框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7941734" y="1791689"/>
            <a:ext cx="102784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  <a:cs typeface="等线" panose="02010600030101010101" charset="-122"/>
              </a:rPr>
              <a:t>PART  FOUR</a:t>
            </a:r>
            <a:endParaRPr lang="zh-CN" altLang="en-US" sz="12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2" name="Shape 7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010783" y="2081416"/>
            <a:ext cx="1533973" cy="16927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ctr">
            <a:spAutoFit/>
          </a:bodyPr>
          <a:lstStyle>
            <a:lvl1pPr algn="l" defTabSz="1828800">
              <a:defRPr sz="4000">
                <a:solidFill>
                  <a:srgbClr val="C597A2"/>
                </a:solidFill>
                <a:latin typeface="Bodoni SvtyTwo ITC TT-Book"/>
                <a:ea typeface="Bodoni SvtyTwo ITC TT-Book"/>
                <a:cs typeface="Bodoni SvtyTwo ITC TT-Book"/>
                <a:sym typeface="Bodoni SvtyTwo ITC TT-Book"/>
              </a:defRPr>
            </a:lvl1pPr>
          </a:lstStyle>
          <a:p>
            <a:r>
              <a:rPr lang="en-US" sz="1100" dirty="0">
                <a:solidFill>
                  <a:schemeClr val="bg1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Our services</a:t>
            </a:r>
          </a:p>
        </p:txBody>
      </p:sp>
      <p:sp>
        <p:nvSpPr>
          <p:cNvPr id="13" name="文本框 1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381067" y="2813334"/>
            <a:ext cx="9252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  <a:cs typeface="等线" panose="02010600030101010101" charset="-122"/>
              </a:rPr>
              <a:t>PART  FIVE</a:t>
            </a:r>
            <a:endParaRPr lang="zh-CN" altLang="en-US" sz="12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4" name="Shape 7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450116" y="3103061"/>
            <a:ext cx="1533973" cy="16927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ctr">
            <a:spAutoFit/>
          </a:bodyPr>
          <a:lstStyle>
            <a:lvl1pPr algn="l" defTabSz="1828800">
              <a:defRPr sz="4000">
                <a:solidFill>
                  <a:srgbClr val="C597A2"/>
                </a:solidFill>
                <a:latin typeface="Bodoni SvtyTwo ITC TT-Book"/>
                <a:ea typeface="Bodoni SvtyTwo ITC TT-Book"/>
                <a:cs typeface="Bodoni SvtyTwo ITC TT-Book"/>
                <a:sym typeface="Bodoni SvtyTwo ITC TT-Book"/>
              </a:defRPr>
            </a:lvl1pPr>
          </a:lstStyle>
          <a:p>
            <a:r>
              <a:rPr lang="en-US" sz="1100" dirty="0">
                <a:solidFill>
                  <a:schemeClr val="bg1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Our projects</a:t>
            </a:r>
          </a:p>
        </p:txBody>
      </p:sp>
      <p:sp>
        <p:nvSpPr>
          <p:cNvPr id="15" name="文本框 1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575733" y="536404"/>
            <a:ext cx="277351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chemeClr val="bg1"/>
                </a:solidFill>
                <a:cs typeface="等线" panose="02010600030101010101" charset="-122"/>
              </a:rPr>
              <a:t>CONTENTS</a:t>
            </a:r>
            <a:endParaRPr lang="zh-CN" altLang="en-US" sz="40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7" name="TextBox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26532" y="1180006"/>
            <a:ext cx="26585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WATER </a:t>
            </a:r>
            <a:r>
              <a:rPr lang="en-US" sz="11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PRESENTATION TEMPLATE</a:t>
            </a:r>
          </a:p>
        </p:txBody>
      </p:sp>
      <p:sp>
        <p:nvSpPr>
          <p:cNvPr id="18" name="文本框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0254016" y="3868845"/>
            <a:ext cx="9252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  <a:cs typeface="等线" panose="02010600030101010101" charset="-122"/>
              </a:rPr>
              <a:t>PART  FIVE</a:t>
            </a:r>
            <a:endParaRPr lang="zh-CN" altLang="en-US" sz="12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9" name="Shape 7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323065" y="4158572"/>
            <a:ext cx="1533973" cy="169277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ctr">
            <a:spAutoFit/>
          </a:bodyPr>
          <a:lstStyle>
            <a:lvl1pPr algn="l" defTabSz="1828800">
              <a:defRPr sz="4000">
                <a:solidFill>
                  <a:srgbClr val="C597A2"/>
                </a:solidFill>
                <a:latin typeface="Bodoni SvtyTwo ITC TT-Book"/>
                <a:ea typeface="Bodoni SvtyTwo ITC TT-Book"/>
                <a:cs typeface="Bodoni SvtyTwo ITC TT-Book"/>
                <a:sym typeface="Bodoni SvtyTwo ITC TT-Book"/>
              </a:defRPr>
            </a:lvl1pPr>
          </a:lstStyle>
          <a:p>
            <a:r>
              <a:rPr lang="en-US" sz="1100" dirty="0">
                <a:solidFill>
                  <a:schemeClr val="bg1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Our charts</a:t>
            </a:r>
          </a:p>
        </p:txBody>
      </p:sp>
      <p:grpSp>
        <p:nvGrpSpPr>
          <p:cNvPr id="20" name="组合 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461119" y="314034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21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22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654116" y="1461532"/>
            <a:ext cx="5226116" cy="6044440"/>
            <a:chOff x="3337592" y="842751"/>
            <a:chExt cx="5791531" cy="6698390"/>
          </a:xfrm>
        </p:grpSpPr>
        <p:grpSp>
          <p:nvGrpSpPr>
            <p:cNvPr id="110" name="组合 109"/>
            <p:cNvGrpSpPr/>
            <p:nvPr/>
          </p:nvGrpSpPr>
          <p:grpSpPr>
            <a:xfrm>
              <a:off x="3337592" y="2433278"/>
              <a:ext cx="5791531" cy="5107863"/>
              <a:chOff x="3040758" y="2082554"/>
              <a:chExt cx="6231820" cy="5496177"/>
            </a:xfrm>
          </p:grpSpPr>
          <p:sp>
            <p:nvSpPr>
              <p:cNvPr id="86" name="椭圆 85"/>
              <p:cNvSpPr/>
              <p:nvPr/>
            </p:nvSpPr>
            <p:spPr>
              <a:xfrm rot="19532391">
                <a:off x="4798065" y="2082554"/>
                <a:ext cx="3536202" cy="1896178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alpha val="66000"/>
                    </a:schemeClr>
                  </a:gs>
                  <a:gs pos="19000">
                    <a:schemeClr val="tx1">
                      <a:alpha val="62000"/>
                    </a:schemeClr>
                  </a:gs>
                  <a:gs pos="62000">
                    <a:srgbClr val="000000">
                      <a:alpha val="24000"/>
                    </a:srgbClr>
                  </a:gs>
                  <a:gs pos="100000">
                    <a:schemeClr val="tx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85" name="椭圆 84"/>
              <p:cNvSpPr/>
              <p:nvPr/>
            </p:nvSpPr>
            <p:spPr>
              <a:xfrm rot="18067504">
                <a:off x="5410384" y="5428537"/>
                <a:ext cx="2898818" cy="1401570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alpha val="66000"/>
                    </a:schemeClr>
                  </a:gs>
                  <a:gs pos="19000">
                    <a:schemeClr val="tx1">
                      <a:alpha val="62000"/>
                    </a:schemeClr>
                  </a:gs>
                  <a:gs pos="62000">
                    <a:srgbClr val="000000">
                      <a:alpha val="24000"/>
                    </a:srgbClr>
                  </a:gs>
                  <a:gs pos="100000">
                    <a:schemeClr val="tx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84" name="椭圆 83"/>
              <p:cNvSpPr/>
              <p:nvPr/>
            </p:nvSpPr>
            <p:spPr>
              <a:xfrm rot="20700000">
                <a:off x="4841664" y="3997242"/>
                <a:ext cx="4430914" cy="1350700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alpha val="60000"/>
                    </a:schemeClr>
                  </a:gs>
                  <a:gs pos="19000">
                    <a:schemeClr val="tx1">
                      <a:alpha val="38000"/>
                    </a:schemeClr>
                  </a:gs>
                  <a:gs pos="46000">
                    <a:srgbClr val="000000">
                      <a:alpha val="24000"/>
                    </a:srgbClr>
                  </a:gs>
                  <a:gs pos="100000">
                    <a:schemeClr val="tx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82" name="椭圆 81"/>
              <p:cNvSpPr/>
              <p:nvPr/>
            </p:nvSpPr>
            <p:spPr>
              <a:xfrm>
                <a:off x="3040758" y="3265613"/>
                <a:ext cx="4895428" cy="1776687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alpha val="44000"/>
                    </a:schemeClr>
                  </a:gs>
                  <a:gs pos="26000">
                    <a:schemeClr val="tx1">
                      <a:alpha val="30000"/>
                    </a:schemeClr>
                  </a:gs>
                  <a:gs pos="100000">
                    <a:schemeClr val="tx1">
                      <a:alpha val="0"/>
                    </a:schemeClr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dirty="0">
                  <a:latin typeface="+mj-lt"/>
                  <a:cs typeface="等线" panose="02010600030101010101" charset="-122"/>
                </a:endParaRPr>
              </a:p>
            </p:txBody>
          </p:sp>
        </p:grpSp>
        <p:grpSp>
          <p:nvGrpSpPr>
            <p:cNvPr id="90" name="组合 89"/>
            <p:cNvGrpSpPr/>
            <p:nvPr/>
          </p:nvGrpSpPr>
          <p:grpSpPr>
            <a:xfrm>
              <a:off x="5081011" y="842751"/>
              <a:ext cx="1862182" cy="3164654"/>
              <a:chOff x="4796914" y="808065"/>
              <a:chExt cx="2003750" cy="3405240"/>
            </a:xfrm>
          </p:grpSpPr>
          <p:grpSp>
            <p:nvGrpSpPr>
              <p:cNvPr id="23" name="组合 22"/>
              <p:cNvGrpSpPr/>
              <p:nvPr/>
            </p:nvGrpSpPr>
            <p:grpSpPr>
              <a:xfrm>
                <a:off x="4796914" y="808065"/>
                <a:ext cx="2003750" cy="3405240"/>
                <a:chOff x="4433889" y="312738"/>
                <a:chExt cx="2519362" cy="4281488"/>
              </a:xfrm>
            </p:grpSpPr>
            <p:sp>
              <p:nvSpPr>
                <p:cNvPr id="14" name="Freeform 13"/>
                <p:cNvSpPr/>
                <p:nvPr/>
              </p:nvSpPr>
              <p:spPr bwMode="auto">
                <a:xfrm>
                  <a:off x="4448176" y="993776"/>
                  <a:ext cx="1223963" cy="3595688"/>
                </a:xfrm>
                <a:custGeom>
                  <a:avLst/>
                  <a:gdLst>
                    <a:gd name="T0" fmla="*/ 0 w 771"/>
                    <a:gd name="T1" fmla="*/ 0 h 2265"/>
                    <a:gd name="T2" fmla="*/ 313 w 771"/>
                    <a:gd name="T3" fmla="*/ 1721 h 2265"/>
                    <a:gd name="T4" fmla="*/ 752 w 771"/>
                    <a:gd name="T5" fmla="*/ 2265 h 2265"/>
                    <a:gd name="T6" fmla="*/ 771 w 771"/>
                    <a:gd name="T7" fmla="*/ 693 h 2265"/>
                    <a:gd name="T8" fmla="*/ 0 w 771"/>
                    <a:gd name="T9" fmla="*/ 0 h 2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71" h="2265">
                      <a:moveTo>
                        <a:pt x="0" y="0"/>
                      </a:moveTo>
                      <a:lnTo>
                        <a:pt x="313" y="1721"/>
                      </a:lnTo>
                      <a:lnTo>
                        <a:pt x="752" y="2265"/>
                      </a:lnTo>
                      <a:lnTo>
                        <a:pt x="771" y="6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  <p:sp>
              <p:nvSpPr>
                <p:cNvPr id="15" name="Freeform 14"/>
                <p:cNvSpPr/>
                <p:nvPr/>
              </p:nvSpPr>
              <p:spPr bwMode="auto">
                <a:xfrm>
                  <a:off x="4448176" y="993776"/>
                  <a:ext cx="1223963" cy="3595688"/>
                </a:xfrm>
                <a:custGeom>
                  <a:avLst/>
                  <a:gdLst>
                    <a:gd name="T0" fmla="*/ 0 w 771"/>
                    <a:gd name="T1" fmla="*/ 0 h 2265"/>
                    <a:gd name="T2" fmla="*/ 313 w 771"/>
                    <a:gd name="T3" fmla="*/ 1721 h 2265"/>
                    <a:gd name="T4" fmla="*/ 752 w 771"/>
                    <a:gd name="T5" fmla="*/ 2265 h 2265"/>
                    <a:gd name="T6" fmla="*/ 771 w 771"/>
                    <a:gd name="T7" fmla="*/ 693 h 2265"/>
                    <a:gd name="T8" fmla="*/ 0 w 771"/>
                    <a:gd name="T9" fmla="*/ 0 h 22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71" h="2265">
                      <a:moveTo>
                        <a:pt x="0" y="0"/>
                      </a:moveTo>
                      <a:lnTo>
                        <a:pt x="313" y="1721"/>
                      </a:lnTo>
                      <a:lnTo>
                        <a:pt x="752" y="2265"/>
                      </a:lnTo>
                      <a:lnTo>
                        <a:pt x="771" y="69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40000">
                      <a:schemeClr val="accent1"/>
                    </a:gs>
                    <a:gs pos="81000">
                      <a:schemeClr val="accent1">
                        <a:lumMod val="50000"/>
                      </a:schemeClr>
                    </a:gs>
                  </a:gsLst>
                  <a:lin ang="7200000" scaled="0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  <p:sp>
              <p:nvSpPr>
                <p:cNvPr id="16" name="Freeform 15"/>
                <p:cNvSpPr/>
                <p:nvPr/>
              </p:nvSpPr>
              <p:spPr bwMode="auto">
                <a:xfrm>
                  <a:off x="5641976" y="1279526"/>
                  <a:ext cx="1311275" cy="3309938"/>
                </a:xfrm>
                <a:custGeom>
                  <a:avLst/>
                  <a:gdLst>
                    <a:gd name="T0" fmla="*/ 19 w 826"/>
                    <a:gd name="T1" fmla="*/ 513 h 2085"/>
                    <a:gd name="T2" fmla="*/ 0 w 826"/>
                    <a:gd name="T3" fmla="*/ 2085 h 2085"/>
                    <a:gd name="T4" fmla="*/ 543 w 826"/>
                    <a:gd name="T5" fmla="*/ 1676 h 2085"/>
                    <a:gd name="T6" fmla="*/ 826 w 826"/>
                    <a:gd name="T7" fmla="*/ 0 h 2085"/>
                    <a:gd name="T8" fmla="*/ 19 w 826"/>
                    <a:gd name="T9" fmla="*/ 513 h 20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25" h="2085">
                      <a:moveTo>
                        <a:pt x="19" y="513"/>
                      </a:moveTo>
                      <a:lnTo>
                        <a:pt x="0" y="2085"/>
                      </a:lnTo>
                      <a:lnTo>
                        <a:pt x="543" y="1676"/>
                      </a:lnTo>
                      <a:lnTo>
                        <a:pt x="826" y="0"/>
                      </a:lnTo>
                      <a:lnTo>
                        <a:pt x="19" y="513"/>
                      </a:lnTo>
                      <a:close/>
                    </a:path>
                  </a:pathLst>
                </a:custGeom>
                <a:gradFill>
                  <a:gsLst>
                    <a:gs pos="36000">
                      <a:schemeClr val="accent1"/>
                    </a:gs>
                    <a:gs pos="77000">
                      <a:schemeClr val="accent1">
                        <a:lumMod val="50000"/>
                      </a:schemeClr>
                    </a:gs>
                  </a:gsLst>
                  <a:lin ang="3600000" scaled="0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  <p:sp>
              <p:nvSpPr>
                <p:cNvPr id="17" name="Freeform 16"/>
                <p:cNvSpPr/>
                <p:nvPr/>
              </p:nvSpPr>
              <p:spPr bwMode="auto">
                <a:xfrm>
                  <a:off x="4448176" y="312738"/>
                  <a:ext cx="2505075" cy="1781175"/>
                </a:xfrm>
                <a:custGeom>
                  <a:avLst/>
                  <a:gdLst>
                    <a:gd name="T0" fmla="*/ 0 w 1578"/>
                    <a:gd name="T1" fmla="*/ 429 h 1122"/>
                    <a:gd name="T2" fmla="*/ 771 w 1578"/>
                    <a:gd name="T3" fmla="*/ 1122 h 1122"/>
                    <a:gd name="T4" fmla="*/ 1578 w 1578"/>
                    <a:gd name="T5" fmla="*/ 609 h 1122"/>
                    <a:gd name="T6" fmla="*/ 875 w 1578"/>
                    <a:gd name="T7" fmla="*/ 0 h 1122"/>
                    <a:gd name="T8" fmla="*/ 0 w 1578"/>
                    <a:gd name="T9" fmla="*/ 429 h 1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578" h="1122">
                      <a:moveTo>
                        <a:pt x="0" y="429"/>
                      </a:moveTo>
                      <a:lnTo>
                        <a:pt x="771" y="1122"/>
                      </a:lnTo>
                      <a:lnTo>
                        <a:pt x="1578" y="609"/>
                      </a:lnTo>
                      <a:lnTo>
                        <a:pt x="875" y="0"/>
                      </a:lnTo>
                      <a:lnTo>
                        <a:pt x="0" y="429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chemeClr val="accent1">
                        <a:lumMod val="60000"/>
                        <a:lumOff val="40000"/>
                      </a:schemeClr>
                    </a:gs>
                    <a:gs pos="87000">
                      <a:schemeClr val="accent1"/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  <p:sp>
              <p:nvSpPr>
                <p:cNvPr id="18" name="Freeform 17"/>
                <p:cNvSpPr/>
                <p:nvPr/>
              </p:nvSpPr>
              <p:spPr bwMode="auto">
                <a:xfrm>
                  <a:off x="5299076" y="839788"/>
                  <a:ext cx="874713" cy="679450"/>
                </a:xfrm>
                <a:custGeom>
                  <a:avLst/>
                  <a:gdLst>
                    <a:gd name="T0" fmla="*/ 217 w 232"/>
                    <a:gd name="T1" fmla="*/ 78 h 181"/>
                    <a:gd name="T2" fmla="*/ 212 w 232"/>
                    <a:gd name="T3" fmla="*/ 125 h 181"/>
                    <a:gd name="T4" fmla="*/ 139 w 232"/>
                    <a:gd name="T5" fmla="*/ 170 h 181"/>
                    <a:gd name="T6" fmla="*/ 78 w 232"/>
                    <a:gd name="T7" fmla="*/ 163 h 181"/>
                    <a:gd name="T8" fmla="*/ 15 w 232"/>
                    <a:gd name="T9" fmla="*/ 102 h 181"/>
                    <a:gd name="T10" fmla="*/ 20 w 232"/>
                    <a:gd name="T11" fmla="*/ 56 h 181"/>
                    <a:gd name="T12" fmla="*/ 93 w 232"/>
                    <a:gd name="T13" fmla="*/ 11 h 181"/>
                    <a:gd name="T14" fmla="*/ 154 w 232"/>
                    <a:gd name="T15" fmla="*/ 18 h 181"/>
                    <a:gd name="T16" fmla="*/ 217 w 232"/>
                    <a:gd name="T17" fmla="*/ 78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31" h="181">
                      <a:moveTo>
                        <a:pt x="217" y="78"/>
                      </a:moveTo>
                      <a:cubicBezTo>
                        <a:pt x="232" y="93"/>
                        <a:pt x="230" y="114"/>
                        <a:pt x="212" y="125"/>
                      </a:cubicBezTo>
                      <a:cubicBezTo>
                        <a:pt x="139" y="170"/>
                        <a:pt x="139" y="170"/>
                        <a:pt x="139" y="170"/>
                      </a:cubicBezTo>
                      <a:cubicBezTo>
                        <a:pt x="121" y="181"/>
                        <a:pt x="94" y="177"/>
                        <a:pt x="78" y="163"/>
                      </a:cubicBez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0" y="88"/>
                        <a:pt x="2" y="67"/>
                        <a:pt x="20" y="56"/>
                      </a:cubicBezTo>
                      <a:cubicBezTo>
                        <a:pt x="93" y="11"/>
                        <a:pt x="93" y="11"/>
                        <a:pt x="93" y="11"/>
                      </a:cubicBezTo>
                      <a:cubicBezTo>
                        <a:pt x="111" y="0"/>
                        <a:pt x="138" y="3"/>
                        <a:pt x="154" y="18"/>
                      </a:cubicBezTo>
                      <a:lnTo>
                        <a:pt x="217" y="7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  <p:sp>
              <p:nvSpPr>
                <p:cNvPr id="22" name="Freeform 21"/>
                <p:cNvSpPr/>
                <p:nvPr/>
              </p:nvSpPr>
              <p:spPr bwMode="auto">
                <a:xfrm>
                  <a:off x="4433889" y="993776"/>
                  <a:ext cx="1238250" cy="3600450"/>
                </a:xfrm>
                <a:custGeom>
                  <a:avLst/>
                  <a:gdLst>
                    <a:gd name="T0" fmla="*/ 317 w 327"/>
                    <a:gd name="T1" fmla="*/ 957 h 957"/>
                    <a:gd name="T2" fmla="*/ 320 w 327"/>
                    <a:gd name="T3" fmla="*/ 625 h 957"/>
                    <a:gd name="T4" fmla="*/ 323 w 327"/>
                    <a:gd name="T5" fmla="*/ 293 h 957"/>
                    <a:gd name="T6" fmla="*/ 324 w 327"/>
                    <a:gd name="T7" fmla="*/ 294 h 957"/>
                    <a:gd name="T8" fmla="*/ 0 w 327"/>
                    <a:gd name="T9" fmla="*/ 0 h 957"/>
                    <a:gd name="T10" fmla="*/ 326 w 327"/>
                    <a:gd name="T11" fmla="*/ 292 h 957"/>
                    <a:gd name="T12" fmla="*/ 327 w 327"/>
                    <a:gd name="T13" fmla="*/ 292 h 957"/>
                    <a:gd name="T14" fmla="*/ 327 w 327"/>
                    <a:gd name="T15" fmla="*/ 293 h 957"/>
                    <a:gd name="T16" fmla="*/ 323 w 327"/>
                    <a:gd name="T17" fmla="*/ 625 h 957"/>
                    <a:gd name="T18" fmla="*/ 317 w 327"/>
                    <a:gd name="T19" fmla="*/ 957 h 9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27" h="957">
                      <a:moveTo>
                        <a:pt x="317" y="957"/>
                      </a:moveTo>
                      <a:cubicBezTo>
                        <a:pt x="318" y="846"/>
                        <a:pt x="319" y="736"/>
                        <a:pt x="320" y="625"/>
                      </a:cubicBezTo>
                      <a:cubicBezTo>
                        <a:pt x="321" y="514"/>
                        <a:pt x="321" y="404"/>
                        <a:pt x="323" y="293"/>
                      </a:cubicBezTo>
                      <a:cubicBezTo>
                        <a:pt x="324" y="294"/>
                        <a:pt x="324" y="294"/>
                        <a:pt x="324" y="294"/>
                      </a:cubicBezTo>
                      <a:cubicBezTo>
                        <a:pt x="216" y="196"/>
                        <a:pt x="107" y="98"/>
                        <a:pt x="0" y="0"/>
                      </a:cubicBezTo>
                      <a:cubicBezTo>
                        <a:pt x="109" y="96"/>
                        <a:pt x="217" y="194"/>
                        <a:pt x="326" y="292"/>
                      </a:cubicBezTo>
                      <a:cubicBezTo>
                        <a:pt x="327" y="292"/>
                        <a:pt x="327" y="292"/>
                        <a:pt x="327" y="292"/>
                      </a:cubicBezTo>
                      <a:cubicBezTo>
                        <a:pt x="327" y="293"/>
                        <a:pt x="327" y="293"/>
                        <a:pt x="327" y="293"/>
                      </a:cubicBezTo>
                      <a:cubicBezTo>
                        <a:pt x="326" y="404"/>
                        <a:pt x="324" y="514"/>
                        <a:pt x="323" y="625"/>
                      </a:cubicBezTo>
                      <a:cubicBezTo>
                        <a:pt x="321" y="736"/>
                        <a:pt x="320" y="846"/>
                        <a:pt x="317" y="957"/>
                      </a:cubicBezTo>
                      <a:close/>
                    </a:path>
                  </a:pathLst>
                </a:custGeom>
                <a:solidFill>
                  <a:schemeClr val="bg1">
                    <a:alpha val="68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</p:grpSp>
          <p:sp>
            <p:nvSpPr>
              <p:cNvPr id="75" name="文本框 74"/>
              <p:cNvSpPr txBox="1"/>
              <p:nvPr/>
            </p:nvSpPr>
            <p:spPr>
              <a:xfrm rot="19031849">
                <a:off x="5617699" y="1167089"/>
                <a:ext cx="321639" cy="6973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200" dirty="0">
                    <a:solidFill>
                      <a:schemeClr val="accent1"/>
                    </a:solidFill>
                    <a:latin typeface="+mj-lt"/>
                    <a:ea typeface="微软雅黑" panose="020B0503020204020204" pitchFamily="34" charset="-122"/>
                    <a:cs typeface="等线" panose="02010600030101010101" charset="-122"/>
                  </a:rPr>
                  <a:t>A</a:t>
                </a:r>
                <a:endParaRPr lang="zh-CN" altLang="en-US" sz="3200" dirty="0">
                  <a:solidFill>
                    <a:schemeClr val="accent1"/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endParaRPr>
              </a:p>
            </p:txBody>
          </p:sp>
        </p:grpSp>
        <p:grpSp>
          <p:nvGrpSpPr>
            <p:cNvPr id="89" name="组合 88"/>
            <p:cNvGrpSpPr/>
            <p:nvPr/>
          </p:nvGrpSpPr>
          <p:grpSpPr>
            <a:xfrm>
              <a:off x="3840731" y="2556485"/>
              <a:ext cx="3259700" cy="1991256"/>
              <a:chOff x="3462344" y="2366243"/>
              <a:chExt cx="3507512" cy="2142637"/>
            </a:xfrm>
          </p:grpSpPr>
          <p:grpSp>
            <p:nvGrpSpPr>
              <p:cNvPr id="39" name="组合 38"/>
              <p:cNvGrpSpPr/>
              <p:nvPr/>
            </p:nvGrpSpPr>
            <p:grpSpPr>
              <a:xfrm>
                <a:off x="3462344" y="2366243"/>
                <a:ext cx="3507512" cy="2142637"/>
                <a:chOff x="3894138" y="2082801"/>
                <a:chExt cx="4410076" cy="2693988"/>
              </a:xfrm>
            </p:grpSpPr>
            <p:sp>
              <p:nvSpPr>
                <p:cNvPr id="27" name="Freeform 25"/>
                <p:cNvSpPr/>
                <p:nvPr/>
              </p:nvSpPr>
              <p:spPr bwMode="auto">
                <a:xfrm>
                  <a:off x="5154613" y="2087563"/>
                  <a:ext cx="3149600" cy="2403475"/>
                </a:xfrm>
                <a:custGeom>
                  <a:avLst/>
                  <a:gdLst>
                    <a:gd name="T0" fmla="*/ 0 w 1984"/>
                    <a:gd name="T1" fmla="*/ 0 h 1514"/>
                    <a:gd name="T2" fmla="*/ 1821 w 1984"/>
                    <a:gd name="T3" fmla="*/ 836 h 1514"/>
                    <a:gd name="T4" fmla="*/ 1984 w 1984"/>
                    <a:gd name="T5" fmla="*/ 1514 h 1514"/>
                    <a:gd name="T6" fmla="*/ 158 w 1984"/>
                    <a:gd name="T7" fmla="*/ 1013 h 1514"/>
                    <a:gd name="T8" fmla="*/ 0 w 1984"/>
                    <a:gd name="T9" fmla="*/ 0 h 15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84" h="1514">
                      <a:moveTo>
                        <a:pt x="0" y="0"/>
                      </a:moveTo>
                      <a:lnTo>
                        <a:pt x="1821" y="836"/>
                      </a:lnTo>
                      <a:lnTo>
                        <a:pt x="1984" y="1514"/>
                      </a:lnTo>
                      <a:lnTo>
                        <a:pt x="158" y="101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chemeClr val="accent2"/>
                    </a:gs>
                    <a:gs pos="16000">
                      <a:schemeClr val="accent2">
                        <a:lumMod val="50000"/>
                      </a:schemeClr>
                    </a:gs>
                    <a:gs pos="57000">
                      <a:schemeClr val="accent2">
                        <a:lumMod val="75000"/>
                      </a:schemeClr>
                    </a:gs>
                  </a:gsLst>
                  <a:lin ang="10200000" scaled="0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  <p:sp>
              <p:nvSpPr>
                <p:cNvPr id="29" name="Freeform 27"/>
                <p:cNvSpPr/>
                <p:nvPr/>
              </p:nvSpPr>
              <p:spPr bwMode="auto">
                <a:xfrm>
                  <a:off x="3981451" y="3695701"/>
                  <a:ext cx="4322763" cy="1081088"/>
                </a:xfrm>
                <a:custGeom>
                  <a:avLst/>
                  <a:gdLst>
                    <a:gd name="T0" fmla="*/ 897 w 2723"/>
                    <a:gd name="T1" fmla="*/ 0 h 681"/>
                    <a:gd name="T2" fmla="*/ 2723 w 2723"/>
                    <a:gd name="T3" fmla="*/ 501 h 681"/>
                    <a:gd name="T4" fmla="*/ 2067 w 2723"/>
                    <a:gd name="T5" fmla="*/ 681 h 681"/>
                    <a:gd name="T6" fmla="*/ 0 w 2723"/>
                    <a:gd name="T7" fmla="*/ 328 h 681"/>
                    <a:gd name="T8" fmla="*/ 897 w 2723"/>
                    <a:gd name="T9" fmla="*/ 0 h 6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23" h="681">
                      <a:moveTo>
                        <a:pt x="897" y="0"/>
                      </a:moveTo>
                      <a:lnTo>
                        <a:pt x="2723" y="501"/>
                      </a:lnTo>
                      <a:lnTo>
                        <a:pt x="2067" y="681"/>
                      </a:lnTo>
                      <a:lnTo>
                        <a:pt x="0" y="328"/>
                      </a:lnTo>
                      <a:lnTo>
                        <a:pt x="897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chemeClr val="accent2"/>
                    </a:gs>
                    <a:gs pos="25000">
                      <a:schemeClr val="accent2">
                        <a:lumMod val="50000"/>
                      </a:schemeClr>
                    </a:gs>
                    <a:gs pos="51000">
                      <a:schemeClr val="accent2">
                        <a:lumMod val="75000"/>
                      </a:schemeClr>
                    </a:gs>
                  </a:gsLst>
                  <a:lin ang="15000000" scaled="0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  <p:sp>
              <p:nvSpPr>
                <p:cNvPr id="30" name="Freeform 28"/>
                <p:cNvSpPr/>
                <p:nvPr/>
              </p:nvSpPr>
              <p:spPr bwMode="auto">
                <a:xfrm>
                  <a:off x="3894138" y="2087563"/>
                  <a:ext cx="1511300" cy="2128838"/>
                </a:xfrm>
                <a:custGeom>
                  <a:avLst/>
                  <a:gdLst>
                    <a:gd name="T0" fmla="*/ 794 w 952"/>
                    <a:gd name="T1" fmla="*/ 0 h 1341"/>
                    <a:gd name="T2" fmla="*/ 952 w 952"/>
                    <a:gd name="T3" fmla="*/ 1013 h 1341"/>
                    <a:gd name="T4" fmla="*/ 55 w 952"/>
                    <a:gd name="T5" fmla="*/ 1341 h 1341"/>
                    <a:gd name="T6" fmla="*/ 0 w 952"/>
                    <a:gd name="T7" fmla="*/ 411 h 1341"/>
                    <a:gd name="T8" fmla="*/ 794 w 952"/>
                    <a:gd name="T9" fmla="*/ 0 h 13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2" h="1341">
                      <a:moveTo>
                        <a:pt x="794" y="0"/>
                      </a:moveTo>
                      <a:lnTo>
                        <a:pt x="952" y="1013"/>
                      </a:lnTo>
                      <a:lnTo>
                        <a:pt x="55" y="1341"/>
                      </a:lnTo>
                      <a:lnTo>
                        <a:pt x="0" y="411"/>
                      </a:lnTo>
                      <a:lnTo>
                        <a:pt x="794" y="0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chemeClr val="accent2">
                        <a:lumMod val="60000"/>
                        <a:lumOff val="40000"/>
                      </a:schemeClr>
                    </a:gs>
                    <a:gs pos="46000">
                      <a:schemeClr val="accent2"/>
                    </a:gs>
                  </a:gsLst>
                  <a:lin ang="8400000" scaled="0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  <p:sp>
              <p:nvSpPr>
                <p:cNvPr id="31" name="Freeform 29"/>
                <p:cNvSpPr/>
                <p:nvPr/>
              </p:nvSpPr>
              <p:spPr bwMode="auto">
                <a:xfrm>
                  <a:off x="4286251" y="2759076"/>
                  <a:ext cx="627063" cy="790575"/>
                </a:xfrm>
                <a:custGeom>
                  <a:avLst/>
                  <a:gdLst>
                    <a:gd name="T0" fmla="*/ 165 w 167"/>
                    <a:gd name="T1" fmla="*/ 120 h 210"/>
                    <a:gd name="T2" fmla="*/ 132 w 167"/>
                    <a:gd name="T3" fmla="*/ 173 h 210"/>
                    <a:gd name="T4" fmla="*/ 51 w 167"/>
                    <a:gd name="T5" fmla="*/ 203 h 210"/>
                    <a:gd name="T6" fmla="*/ 13 w 167"/>
                    <a:gd name="T7" fmla="*/ 179 h 210"/>
                    <a:gd name="T8" fmla="*/ 2 w 167"/>
                    <a:gd name="T9" fmla="*/ 97 h 210"/>
                    <a:gd name="T10" fmla="*/ 32 w 167"/>
                    <a:gd name="T11" fmla="*/ 45 h 210"/>
                    <a:gd name="T12" fmla="*/ 113 w 167"/>
                    <a:gd name="T13" fmla="*/ 9 h 210"/>
                    <a:gd name="T14" fmla="*/ 155 w 167"/>
                    <a:gd name="T15" fmla="*/ 32 h 210"/>
                    <a:gd name="T16" fmla="*/ 165 w 167"/>
                    <a:gd name="T17" fmla="*/ 120 h 2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7" h="210">
                      <a:moveTo>
                        <a:pt x="165" y="120"/>
                      </a:moveTo>
                      <a:cubicBezTo>
                        <a:pt x="167" y="142"/>
                        <a:pt x="152" y="165"/>
                        <a:pt x="132" y="173"/>
                      </a:cubicBezTo>
                      <a:cubicBezTo>
                        <a:pt x="51" y="203"/>
                        <a:pt x="51" y="203"/>
                        <a:pt x="51" y="203"/>
                      </a:cubicBezTo>
                      <a:cubicBezTo>
                        <a:pt x="32" y="210"/>
                        <a:pt x="15" y="199"/>
                        <a:pt x="13" y="179"/>
                      </a:cubicBezTo>
                      <a:cubicBezTo>
                        <a:pt x="2" y="97"/>
                        <a:pt x="2" y="97"/>
                        <a:pt x="2" y="97"/>
                      </a:cubicBezTo>
                      <a:cubicBezTo>
                        <a:pt x="0" y="77"/>
                        <a:pt x="13" y="53"/>
                        <a:pt x="32" y="45"/>
                      </a:cubicBezTo>
                      <a:cubicBezTo>
                        <a:pt x="113" y="9"/>
                        <a:pt x="113" y="9"/>
                        <a:pt x="113" y="9"/>
                      </a:cubicBezTo>
                      <a:cubicBezTo>
                        <a:pt x="133" y="0"/>
                        <a:pt x="152" y="10"/>
                        <a:pt x="155" y="32"/>
                      </a:cubicBezTo>
                      <a:lnTo>
                        <a:pt x="165" y="12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  <p:grpSp>
              <p:nvGrpSpPr>
                <p:cNvPr id="38" name="组合 37"/>
                <p:cNvGrpSpPr/>
                <p:nvPr/>
              </p:nvGrpSpPr>
              <p:grpSpPr>
                <a:xfrm>
                  <a:off x="3979862" y="2082801"/>
                  <a:ext cx="4324350" cy="2403476"/>
                  <a:chOff x="3979862" y="2082801"/>
                  <a:chExt cx="4324350" cy="2403476"/>
                </a:xfrm>
                <a:solidFill>
                  <a:srgbClr val="FFFFFF">
                    <a:alpha val="65000"/>
                  </a:srgbClr>
                </a:solidFill>
              </p:grpSpPr>
              <p:sp>
                <p:nvSpPr>
                  <p:cNvPr id="36" name="Freeform 34"/>
                  <p:cNvSpPr/>
                  <p:nvPr/>
                </p:nvSpPr>
                <p:spPr bwMode="auto">
                  <a:xfrm>
                    <a:off x="3979862" y="3687764"/>
                    <a:ext cx="4324350" cy="798513"/>
                  </a:xfrm>
                  <a:custGeom>
                    <a:avLst/>
                    <a:gdLst>
                      <a:gd name="T0" fmla="*/ 0 w 1150"/>
                      <a:gd name="T1" fmla="*/ 139 h 212"/>
                      <a:gd name="T2" fmla="*/ 378 w 1150"/>
                      <a:gd name="T3" fmla="*/ 0 h 212"/>
                      <a:gd name="T4" fmla="*/ 379 w 1150"/>
                      <a:gd name="T5" fmla="*/ 0 h 212"/>
                      <a:gd name="T6" fmla="*/ 379 w 1150"/>
                      <a:gd name="T7" fmla="*/ 0 h 212"/>
                      <a:gd name="T8" fmla="*/ 765 w 1150"/>
                      <a:gd name="T9" fmla="*/ 105 h 212"/>
                      <a:gd name="T10" fmla="*/ 1150 w 1150"/>
                      <a:gd name="T11" fmla="*/ 212 h 212"/>
                      <a:gd name="T12" fmla="*/ 764 w 1150"/>
                      <a:gd name="T13" fmla="*/ 108 h 212"/>
                      <a:gd name="T14" fmla="*/ 379 w 1150"/>
                      <a:gd name="T15" fmla="*/ 3 h 212"/>
                      <a:gd name="T16" fmla="*/ 380 w 1150"/>
                      <a:gd name="T17" fmla="*/ 3 h 212"/>
                      <a:gd name="T18" fmla="*/ 0 w 1150"/>
                      <a:gd name="T19" fmla="*/ 139 h 21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1150" h="211">
                        <a:moveTo>
                          <a:pt x="0" y="139"/>
                        </a:moveTo>
                        <a:cubicBezTo>
                          <a:pt x="126" y="92"/>
                          <a:pt x="252" y="46"/>
                          <a:pt x="378" y="0"/>
                        </a:cubicBezTo>
                        <a:cubicBezTo>
                          <a:pt x="379" y="0"/>
                          <a:pt x="379" y="0"/>
                          <a:pt x="379" y="0"/>
                        </a:cubicBezTo>
                        <a:cubicBezTo>
                          <a:pt x="379" y="0"/>
                          <a:pt x="379" y="0"/>
                          <a:pt x="379" y="0"/>
                        </a:cubicBezTo>
                        <a:cubicBezTo>
                          <a:pt x="508" y="34"/>
                          <a:pt x="637" y="70"/>
                          <a:pt x="765" y="105"/>
                        </a:cubicBezTo>
                        <a:cubicBezTo>
                          <a:pt x="893" y="141"/>
                          <a:pt x="1022" y="176"/>
                          <a:pt x="1150" y="212"/>
                        </a:cubicBezTo>
                        <a:cubicBezTo>
                          <a:pt x="1021" y="178"/>
                          <a:pt x="893" y="143"/>
                          <a:pt x="764" y="108"/>
                        </a:cubicBezTo>
                        <a:cubicBezTo>
                          <a:pt x="635" y="74"/>
                          <a:pt x="507" y="38"/>
                          <a:pt x="379" y="3"/>
                        </a:cubicBezTo>
                        <a:cubicBezTo>
                          <a:pt x="380" y="3"/>
                          <a:pt x="380" y="3"/>
                          <a:pt x="380" y="3"/>
                        </a:cubicBezTo>
                        <a:cubicBezTo>
                          <a:pt x="253" y="48"/>
                          <a:pt x="127" y="94"/>
                          <a:pt x="0" y="1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 dirty="0">
                      <a:latin typeface="+mj-lt"/>
                      <a:cs typeface="等线" panose="02010600030101010101" charset="-122"/>
                    </a:endParaRPr>
                  </a:p>
                </p:txBody>
              </p:sp>
              <p:sp>
                <p:nvSpPr>
                  <p:cNvPr id="37" name="Freeform 35"/>
                  <p:cNvSpPr/>
                  <p:nvPr/>
                </p:nvSpPr>
                <p:spPr bwMode="auto">
                  <a:xfrm>
                    <a:off x="5153025" y="2082801"/>
                    <a:ext cx="252413" cy="1608138"/>
                  </a:xfrm>
                  <a:custGeom>
                    <a:avLst/>
                    <a:gdLst>
                      <a:gd name="T0" fmla="*/ 0 w 67"/>
                      <a:gd name="T1" fmla="*/ 0 h 427"/>
                      <a:gd name="T2" fmla="*/ 11 w 67"/>
                      <a:gd name="T3" fmla="*/ 67 h 427"/>
                      <a:gd name="T4" fmla="*/ 35 w 67"/>
                      <a:gd name="T5" fmla="*/ 213 h 427"/>
                      <a:gd name="T6" fmla="*/ 58 w 67"/>
                      <a:gd name="T7" fmla="*/ 360 h 427"/>
                      <a:gd name="T8" fmla="*/ 67 w 67"/>
                      <a:gd name="T9" fmla="*/ 427 h 427"/>
                      <a:gd name="T10" fmla="*/ 55 w 67"/>
                      <a:gd name="T11" fmla="*/ 361 h 427"/>
                      <a:gd name="T12" fmla="*/ 31 w 67"/>
                      <a:gd name="T13" fmla="*/ 214 h 427"/>
                      <a:gd name="T14" fmla="*/ 9 w 67"/>
                      <a:gd name="T15" fmla="*/ 67 h 427"/>
                      <a:gd name="T16" fmla="*/ 0 w 67"/>
                      <a:gd name="T17" fmla="*/ 0 h 4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67" h="427">
                        <a:moveTo>
                          <a:pt x="0" y="0"/>
                        </a:moveTo>
                        <a:cubicBezTo>
                          <a:pt x="0" y="0"/>
                          <a:pt x="5" y="27"/>
                          <a:pt x="11" y="67"/>
                        </a:cubicBezTo>
                        <a:cubicBezTo>
                          <a:pt x="18" y="107"/>
                          <a:pt x="27" y="160"/>
                          <a:pt x="35" y="213"/>
                        </a:cubicBezTo>
                        <a:cubicBezTo>
                          <a:pt x="44" y="267"/>
                          <a:pt x="52" y="320"/>
                          <a:pt x="58" y="360"/>
                        </a:cubicBezTo>
                        <a:cubicBezTo>
                          <a:pt x="63" y="400"/>
                          <a:pt x="67" y="427"/>
                          <a:pt x="67" y="427"/>
                        </a:cubicBezTo>
                        <a:cubicBezTo>
                          <a:pt x="67" y="427"/>
                          <a:pt x="62" y="401"/>
                          <a:pt x="55" y="361"/>
                        </a:cubicBezTo>
                        <a:cubicBezTo>
                          <a:pt x="49" y="321"/>
                          <a:pt x="40" y="267"/>
                          <a:pt x="31" y="214"/>
                        </a:cubicBezTo>
                        <a:cubicBezTo>
                          <a:pt x="23" y="160"/>
                          <a:pt x="15" y="107"/>
                          <a:pt x="9" y="67"/>
                        </a:cubicBezTo>
                        <a:cubicBezTo>
                          <a:pt x="4" y="27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 dirty="0">
                      <a:latin typeface="+mj-lt"/>
                      <a:cs typeface="等线" panose="02010600030101010101" charset="-122"/>
                    </a:endParaRPr>
                  </a:p>
                </p:txBody>
              </p:sp>
            </p:grpSp>
          </p:grpSp>
          <p:sp>
            <p:nvSpPr>
              <p:cNvPr id="76" name="文本框 75"/>
              <p:cNvSpPr txBox="1"/>
              <p:nvPr/>
            </p:nvSpPr>
            <p:spPr>
              <a:xfrm rot="21182205">
                <a:off x="3821339" y="2847490"/>
                <a:ext cx="261729" cy="6973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200" dirty="0">
                    <a:solidFill>
                      <a:schemeClr val="accent2"/>
                    </a:solidFill>
                    <a:latin typeface="+mj-lt"/>
                    <a:ea typeface="微软雅黑" panose="020B0503020204020204" pitchFamily="34" charset="-122"/>
                    <a:cs typeface="等线" panose="02010600030101010101" charset="-122"/>
                  </a:rPr>
                  <a:t>B</a:t>
                </a:r>
                <a:endParaRPr lang="zh-CN" altLang="en-US" sz="3200" dirty="0">
                  <a:solidFill>
                    <a:schemeClr val="accent2"/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endParaRPr>
              </a:p>
            </p:txBody>
          </p:sp>
        </p:grpSp>
        <p:grpSp>
          <p:nvGrpSpPr>
            <p:cNvPr id="92" name="组合 91"/>
            <p:cNvGrpSpPr/>
            <p:nvPr/>
          </p:nvGrpSpPr>
          <p:grpSpPr>
            <a:xfrm>
              <a:off x="5907085" y="2912612"/>
              <a:ext cx="2436972" cy="2521738"/>
              <a:chOff x="5685788" y="2523327"/>
              <a:chExt cx="2622238" cy="2713447"/>
            </a:xfrm>
            <a:effectLst>
              <a:outerShdw blurRad="241300" dist="152400" dir="8100000" sx="96000" sy="96000" algn="tr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88" name="组合 87"/>
              <p:cNvGrpSpPr/>
              <p:nvPr/>
            </p:nvGrpSpPr>
            <p:grpSpPr>
              <a:xfrm>
                <a:off x="5685788" y="2523327"/>
                <a:ext cx="2600962" cy="2707021"/>
                <a:chOff x="5685788" y="2749443"/>
                <a:chExt cx="2600962" cy="2707021"/>
              </a:xfrm>
            </p:grpSpPr>
            <p:grpSp>
              <p:nvGrpSpPr>
                <p:cNvPr id="69" name="组合 68"/>
                <p:cNvGrpSpPr/>
                <p:nvPr/>
              </p:nvGrpSpPr>
              <p:grpSpPr>
                <a:xfrm>
                  <a:off x="5685788" y="2749443"/>
                  <a:ext cx="2600962" cy="2707021"/>
                  <a:chOff x="6015039" y="1862139"/>
                  <a:chExt cx="3270250" cy="3403601"/>
                </a:xfrm>
              </p:grpSpPr>
              <p:grpSp>
                <p:nvGrpSpPr>
                  <p:cNvPr id="49" name="组合 48"/>
                  <p:cNvGrpSpPr/>
                  <p:nvPr/>
                </p:nvGrpSpPr>
                <p:grpSpPr>
                  <a:xfrm>
                    <a:off x="6015039" y="1874839"/>
                    <a:ext cx="3270250" cy="3390901"/>
                    <a:chOff x="4462463" y="1733550"/>
                    <a:chExt cx="3270250" cy="3390901"/>
                  </a:xfrm>
                </p:grpSpPr>
                <p:sp>
                  <p:nvSpPr>
                    <p:cNvPr id="43" name="Freeform 39"/>
                    <p:cNvSpPr/>
                    <p:nvPr/>
                  </p:nvSpPr>
                  <p:spPr bwMode="auto">
                    <a:xfrm>
                      <a:off x="4722813" y="3087688"/>
                      <a:ext cx="3009900" cy="2036763"/>
                    </a:xfrm>
                    <a:custGeom>
                      <a:avLst/>
                      <a:gdLst>
                        <a:gd name="T0" fmla="*/ 948 w 1896"/>
                        <a:gd name="T1" fmla="*/ 121 h 1283"/>
                        <a:gd name="T2" fmla="*/ 0 w 1896"/>
                        <a:gd name="T3" fmla="*/ 1283 h 1283"/>
                        <a:gd name="T4" fmla="*/ 666 w 1896"/>
                        <a:gd name="T5" fmla="*/ 1143 h 1283"/>
                        <a:gd name="T6" fmla="*/ 1896 w 1896"/>
                        <a:gd name="T7" fmla="*/ 0 h 1283"/>
                        <a:gd name="T8" fmla="*/ 948 w 1896"/>
                        <a:gd name="T9" fmla="*/ 121 h 12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95" h="1283">
                          <a:moveTo>
                            <a:pt x="948" y="121"/>
                          </a:moveTo>
                          <a:lnTo>
                            <a:pt x="0" y="1283"/>
                          </a:lnTo>
                          <a:lnTo>
                            <a:pt x="666" y="1143"/>
                          </a:lnTo>
                          <a:lnTo>
                            <a:pt x="1896" y="0"/>
                          </a:lnTo>
                          <a:lnTo>
                            <a:pt x="948" y="121"/>
                          </a:lnTo>
                          <a:close/>
                        </a:path>
                      </a:pathLst>
                    </a:custGeom>
                    <a:solidFill>
                      <a:srgbClr val="B3A1A1"/>
                    </a:solidFill>
                    <a:ln>
                      <a:noFill/>
                    </a:ln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round/>
                        </a14:hiddenLine>
                      </a:ext>
                    </a:extLst>
                  </p:spPr>
                  <p:txBody>
                    <a:bodyPr vert="horz" wrap="square" lIns="91440" tIns="45720" rIns="91440" bIns="45720" numCol="1" anchor="t" anchorCtr="0" compatLnSpc="1"/>
                    <a:lstStyle/>
                    <a:p>
                      <a:endParaRPr lang="zh-CN" altLang="en-US" dirty="0">
                        <a:latin typeface="+mj-lt"/>
                        <a:cs typeface="等线" panose="02010600030101010101" charset="-122"/>
                      </a:endParaRPr>
                    </a:p>
                  </p:txBody>
                </p:sp>
                <p:sp>
                  <p:nvSpPr>
                    <p:cNvPr id="44" name="Freeform 40"/>
                    <p:cNvSpPr/>
                    <p:nvPr/>
                  </p:nvSpPr>
                  <p:spPr bwMode="auto">
                    <a:xfrm>
                      <a:off x="4722813" y="3087688"/>
                      <a:ext cx="3009900" cy="2036763"/>
                    </a:xfrm>
                    <a:custGeom>
                      <a:avLst/>
                      <a:gdLst>
                        <a:gd name="T0" fmla="*/ 948 w 1896"/>
                        <a:gd name="T1" fmla="*/ 121 h 1283"/>
                        <a:gd name="T2" fmla="*/ 0 w 1896"/>
                        <a:gd name="T3" fmla="*/ 1283 h 1283"/>
                        <a:gd name="T4" fmla="*/ 666 w 1896"/>
                        <a:gd name="T5" fmla="*/ 1143 h 1283"/>
                        <a:gd name="T6" fmla="*/ 1896 w 1896"/>
                        <a:gd name="T7" fmla="*/ 0 h 1283"/>
                        <a:gd name="T8" fmla="*/ 948 w 1896"/>
                        <a:gd name="T9" fmla="*/ 121 h 1283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895" h="1283">
                          <a:moveTo>
                            <a:pt x="948" y="121"/>
                          </a:moveTo>
                          <a:lnTo>
                            <a:pt x="0" y="1283"/>
                          </a:lnTo>
                          <a:lnTo>
                            <a:pt x="666" y="1143"/>
                          </a:lnTo>
                          <a:lnTo>
                            <a:pt x="1896" y="0"/>
                          </a:lnTo>
                          <a:lnTo>
                            <a:pt x="948" y="121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61000">
                          <a:schemeClr val="accent3">
                            <a:lumMod val="75000"/>
                          </a:schemeClr>
                        </a:gs>
                        <a:gs pos="100000">
                          <a:schemeClr val="accent3">
                            <a:lumMod val="50000"/>
                          </a:schemeClr>
                        </a:gs>
                        <a:gs pos="13000">
                          <a:schemeClr val="accent3"/>
                        </a:gs>
                      </a:gsLst>
                      <a:lin ang="4800000" scaled="0"/>
                    </a:gra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/>
                    <a:lstStyle/>
                    <a:p>
                      <a:endParaRPr lang="zh-CN" altLang="en-US" dirty="0">
                        <a:latin typeface="+mj-lt"/>
                        <a:cs typeface="等线" panose="02010600030101010101" charset="-122"/>
                      </a:endParaRPr>
                    </a:p>
                  </p:txBody>
                </p:sp>
                <p:sp>
                  <p:nvSpPr>
                    <p:cNvPr id="45" name="Freeform 41"/>
                    <p:cNvSpPr/>
                    <p:nvPr/>
                  </p:nvSpPr>
                  <p:spPr bwMode="auto">
                    <a:xfrm>
                      <a:off x="4462463" y="1733550"/>
                      <a:ext cx="1765300" cy="3390900"/>
                    </a:xfrm>
                    <a:custGeom>
                      <a:avLst/>
                      <a:gdLst>
                        <a:gd name="T0" fmla="*/ 790 w 1112"/>
                        <a:gd name="T1" fmla="*/ 0 h 2136"/>
                        <a:gd name="T2" fmla="*/ 0 w 1112"/>
                        <a:gd name="T3" fmla="*/ 1455 h 2136"/>
                        <a:gd name="T4" fmla="*/ 164 w 1112"/>
                        <a:gd name="T5" fmla="*/ 2136 h 2136"/>
                        <a:gd name="T6" fmla="*/ 1112 w 1112"/>
                        <a:gd name="T7" fmla="*/ 974 h 2136"/>
                        <a:gd name="T8" fmla="*/ 790 w 1112"/>
                        <a:gd name="T9" fmla="*/ 0 h 2136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112" h="2136">
                          <a:moveTo>
                            <a:pt x="790" y="0"/>
                          </a:moveTo>
                          <a:lnTo>
                            <a:pt x="0" y="1455"/>
                          </a:lnTo>
                          <a:lnTo>
                            <a:pt x="164" y="2136"/>
                          </a:lnTo>
                          <a:lnTo>
                            <a:pt x="1112" y="974"/>
                          </a:lnTo>
                          <a:lnTo>
                            <a:pt x="79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61000">
                          <a:schemeClr val="accent3">
                            <a:lumMod val="75000"/>
                          </a:schemeClr>
                        </a:gs>
                        <a:gs pos="100000">
                          <a:schemeClr val="accent3">
                            <a:lumMod val="50000"/>
                          </a:schemeClr>
                        </a:gs>
                        <a:gs pos="13000">
                          <a:schemeClr val="accent3"/>
                        </a:gs>
                      </a:gsLst>
                      <a:lin ang="9600000" scaled="0"/>
                    </a:gra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/>
                    <a:lstStyle/>
                    <a:p>
                      <a:endParaRPr lang="zh-CN" altLang="en-US" dirty="0">
                        <a:latin typeface="+mj-lt"/>
                        <a:cs typeface="等线" panose="02010600030101010101" charset="-122"/>
                      </a:endParaRPr>
                    </a:p>
                  </p:txBody>
                </p:sp>
                <p:sp>
                  <p:nvSpPr>
                    <p:cNvPr id="46" name="Freeform 42"/>
                    <p:cNvSpPr/>
                    <p:nvPr/>
                  </p:nvSpPr>
                  <p:spPr bwMode="auto">
                    <a:xfrm>
                      <a:off x="5716588" y="1733550"/>
                      <a:ext cx="2016125" cy="1546225"/>
                    </a:xfrm>
                    <a:custGeom>
                      <a:avLst/>
                      <a:gdLst>
                        <a:gd name="T0" fmla="*/ 0 w 1270"/>
                        <a:gd name="T1" fmla="*/ 0 h 974"/>
                        <a:gd name="T2" fmla="*/ 322 w 1270"/>
                        <a:gd name="T3" fmla="*/ 974 h 974"/>
                        <a:gd name="T4" fmla="*/ 1270 w 1270"/>
                        <a:gd name="T5" fmla="*/ 853 h 974"/>
                        <a:gd name="T6" fmla="*/ 895 w 1270"/>
                        <a:gd name="T7" fmla="*/ 3 h 974"/>
                        <a:gd name="T8" fmla="*/ 0 w 1270"/>
                        <a:gd name="T9" fmla="*/ 0 h 974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</a:cxnLst>
                      <a:rect l="0" t="0" r="r" b="b"/>
                      <a:pathLst>
                        <a:path w="1270" h="974">
                          <a:moveTo>
                            <a:pt x="0" y="0"/>
                          </a:moveTo>
                          <a:lnTo>
                            <a:pt x="322" y="974"/>
                          </a:lnTo>
                          <a:lnTo>
                            <a:pt x="1270" y="853"/>
                          </a:lnTo>
                          <a:lnTo>
                            <a:pt x="895" y="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gradFill>
                      <a:gsLst>
                        <a:gs pos="0">
                          <a:schemeClr val="accent3">
                            <a:lumMod val="60000"/>
                            <a:lumOff val="40000"/>
                          </a:schemeClr>
                        </a:gs>
                        <a:gs pos="71000">
                          <a:schemeClr val="accent3"/>
                        </a:gs>
                      </a:gsLst>
                      <a:lin ang="8400000" scaled="0"/>
                    </a:gra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/>
                    <a:lstStyle/>
                    <a:p>
                      <a:endParaRPr lang="zh-CN" altLang="en-US" dirty="0">
                        <a:latin typeface="+mj-lt"/>
                        <a:cs typeface="等线" panose="02010600030101010101" charset="-122"/>
                      </a:endParaRPr>
                    </a:p>
                  </p:txBody>
                </p:sp>
                <p:sp>
                  <p:nvSpPr>
                    <p:cNvPr id="47" name="Freeform 43"/>
                    <p:cNvSpPr/>
                    <p:nvPr/>
                  </p:nvSpPr>
                  <p:spPr bwMode="auto">
                    <a:xfrm>
                      <a:off x="6370638" y="2147888"/>
                      <a:ext cx="771525" cy="631825"/>
                    </a:xfrm>
                    <a:custGeom>
                      <a:avLst/>
                      <a:gdLst>
                        <a:gd name="T0" fmla="*/ 198 w 205"/>
                        <a:gd name="T1" fmla="*/ 120 h 168"/>
                        <a:gd name="T2" fmla="*/ 172 w 205"/>
                        <a:gd name="T3" fmla="*/ 161 h 168"/>
                        <a:gd name="T4" fmla="*/ 82 w 205"/>
                        <a:gd name="T5" fmla="*/ 167 h 168"/>
                        <a:gd name="T6" fmla="*/ 31 w 205"/>
                        <a:gd name="T7" fmla="*/ 129 h 168"/>
                        <a:gd name="T8" fmla="*/ 6 w 205"/>
                        <a:gd name="T9" fmla="*/ 43 h 168"/>
                        <a:gd name="T10" fmla="*/ 34 w 205"/>
                        <a:gd name="T11" fmla="*/ 5 h 168"/>
                        <a:gd name="T12" fmla="*/ 118 w 205"/>
                        <a:gd name="T13" fmla="*/ 1 h 168"/>
                        <a:gd name="T14" fmla="*/ 168 w 205"/>
                        <a:gd name="T15" fmla="*/ 35 h 168"/>
                        <a:gd name="T16" fmla="*/ 198 w 205"/>
                        <a:gd name="T17" fmla="*/ 120 h 168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</a:cxnLst>
                      <a:rect l="0" t="0" r="r" b="b"/>
                      <a:pathLst>
                        <a:path w="205" h="168">
                          <a:moveTo>
                            <a:pt x="198" y="120"/>
                          </a:moveTo>
                          <a:cubicBezTo>
                            <a:pt x="205" y="141"/>
                            <a:pt x="194" y="160"/>
                            <a:pt x="172" y="161"/>
                          </a:cubicBezTo>
                          <a:cubicBezTo>
                            <a:pt x="82" y="167"/>
                            <a:pt x="82" y="167"/>
                            <a:pt x="82" y="167"/>
                          </a:cubicBezTo>
                          <a:cubicBezTo>
                            <a:pt x="60" y="168"/>
                            <a:pt x="37" y="151"/>
                            <a:pt x="31" y="129"/>
                          </a:cubicBezTo>
                          <a:cubicBezTo>
                            <a:pt x="6" y="43"/>
                            <a:pt x="6" y="43"/>
                            <a:pt x="6" y="43"/>
                          </a:cubicBezTo>
                          <a:cubicBezTo>
                            <a:pt x="0" y="23"/>
                            <a:pt x="13" y="6"/>
                            <a:pt x="34" y="5"/>
                          </a:cubicBezTo>
                          <a:cubicBezTo>
                            <a:pt x="118" y="1"/>
                            <a:pt x="118" y="1"/>
                            <a:pt x="118" y="1"/>
                          </a:cubicBezTo>
                          <a:cubicBezTo>
                            <a:pt x="139" y="0"/>
                            <a:pt x="161" y="15"/>
                            <a:pt x="168" y="35"/>
                          </a:cubicBezTo>
                          <a:lnTo>
                            <a:pt x="198" y="120"/>
                          </a:lnTo>
                          <a:close/>
                        </a:path>
                      </a:pathLst>
                    </a:custGeom>
                    <a:solidFill>
                      <a:schemeClr val="bg1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/>
                    <a:lstStyle/>
                    <a:p>
                      <a:endParaRPr lang="zh-CN" altLang="en-US" dirty="0">
                        <a:latin typeface="+mj-lt"/>
                        <a:cs typeface="等线" panose="02010600030101010101" charset="-122"/>
                      </a:endParaRPr>
                    </a:p>
                  </p:txBody>
                </p:sp>
              </p:grpSp>
              <p:sp>
                <p:nvSpPr>
                  <p:cNvPr id="63" name="Freeform 57"/>
                  <p:cNvSpPr/>
                  <p:nvPr/>
                </p:nvSpPr>
                <p:spPr bwMode="auto">
                  <a:xfrm>
                    <a:off x="6256340" y="1862139"/>
                    <a:ext cx="1517650" cy="3390900"/>
                  </a:xfrm>
                  <a:custGeom>
                    <a:avLst/>
                    <a:gdLst>
                      <a:gd name="T0" fmla="*/ 0 w 402"/>
                      <a:gd name="T1" fmla="*/ 901 h 901"/>
                      <a:gd name="T2" fmla="*/ 199 w 402"/>
                      <a:gd name="T3" fmla="*/ 655 h 901"/>
                      <a:gd name="T4" fmla="*/ 398 w 402"/>
                      <a:gd name="T5" fmla="*/ 410 h 901"/>
                      <a:gd name="T6" fmla="*/ 398 w 402"/>
                      <a:gd name="T7" fmla="*/ 412 h 901"/>
                      <a:gd name="T8" fmla="*/ 264 w 402"/>
                      <a:gd name="T9" fmla="*/ 0 h 901"/>
                      <a:gd name="T10" fmla="*/ 401 w 402"/>
                      <a:gd name="T11" fmla="*/ 410 h 901"/>
                      <a:gd name="T12" fmla="*/ 402 w 402"/>
                      <a:gd name="T13" fmla="*/ 411 h 901"/>
                      <a:gd name="T14" fmla="*/ 401 w 402"/>
                      <a:gd name="T15" fmla="*/ 412 h 901"/>
                      <a:gd name="T16" fmla="*/ 201 w 402"/>
                      <a:gd name="T17" fmla="*/ 657 h 901"/>
                      <a:gd name="T18" fmla="*/ 0 w 402"/>
                      <a:gd name="T19" fmla="*/ 901 h 90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402" h="901">
                        <a:moveTo>
                          <a:pt x="0" y="901"/>
                        </a:moveTo>
                        <a:cubicBezTo>
                          <a:pt x="66" y="818"/>
                          <a:pt x="132" y="737"/>
                          <a:pt x="199" y="655"/>
                        </a:cubicBezTo>
                        <a:cubicBezTo>
                          <a:pt x="265" y="573"/>
                          <a:pt x="331" y="491"/>
                          <a:pt x="398" y="410"/>
                        </a:cubicBezTo>
                        <a:cubicBezTo>
                          <a:pt x="398" y="412"/>
                          <a:pt x="398" y="412"/>
                          <a:pt x="398" y="412"/>
                        </a:cubicBezTo>
                        <a:cubicBezTo>
                          <a:pt x="353" y="274"/>
                          <a:pt x="308" y="138"/>
                          <a:pt x="264" y="0"/>
                        </a:cubicBezTo>
                        <a:cubicBezTo>
                          <a:pt x="311" y="137"/>
                          <a:pt x="356" y="274"/>
                          <a:pt x="401" y="410"/>
                        </a:cubicBezTo>
                        <a:cubicBezTo>
                          <a:pt x="402" y="411"/>
                          <a:pt x="402" y="411"/>
                          <a:pt x="402" y="411"/>
                        </a:cubicBezTo>
                        <a:cubicBezTo>
                          <a:pt x="401" y="412"/>
                          <a:pt x="401" y="412"/>
                          <a:pt x="401" y="412"/>
                        </a:cubicBezTo>
                        <a:cubicBezTo>
                          <a:pt x="335" y="494"/>
                          <a:pt x="268" y="575"/>
                          <a:pt x="201" y="657"/>
                        </a:cubicBezTo>
                        <a:cubicBezTo>
                          <a:pt x="134" y="738"/>
                          <a:pt x="68" y="820"/>
                          <a:pt x="0" y="901"/>
                        </a:cubicBezTo>
                        <a:close/>
                      </a:path>
                    </a:pathLst>
                  </a:custGeom>
                  <a:solidFill>
                    <a:schemeClr val="accent3">
                      <a:lumMod val="60000"/>
                      <a:lumOff val="40000"/>
                    </a:schemeClr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 dirty="0">
                      <a:latin typeface="+mj-lt"/>
                      <a:cs typeface="等线" panose="02010600030101010101" charset="-122"/>
                    </a:endParaRPr>
                  </a:p>
                </p:txBody>
              </p:sp>
            </p:grpSp>
            <p:sp>
              <p:nvSpPr>
                <p:cNvPr id="77" name="文本框 76"/>
                <p:cNvSpPr txBox="1"/>
                <p:nvPr/>
              </p:nvSpPr>
              <p:spPr>
                <a:xfrm rot="20650428">
                  <a:off x="7302162" y="2989966"/>
                  <a:ext cx="321639" cy="6973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altLang="zh-CN" sz="3200" dirty="0">
                      <a:solidFill>
                        <a:schemeClr val="accent3"/>
                      </a:solidFill>
                      <a:latin typeface="+mj-lt"/>
                      <a:ea typeface="微软雅黑" panose="020B0503020204020204" pitchFamily="34" charset="-122"/>
                      <a:cs typeface="等线" panose="02010600030101010101" charset="-122"/>
                    </a:rPr>
                    <a:t>C</a:t>
                  </a:r>
                  <a:endParaRPr lang="zh-CN" altLang="en-US" sz="3200" dirty="0">
                    <a:solidFill>
                      <a:schemeClr val="accent3"/>
                    </a:solidFill>
                    <a:latin typeface="+mj-lt"/>
                    <a:ea typeface="微软雅黑" panose="020B0503020204020204" pitchFamily="34" charset="-122"/>
                    <a:cs typeface="等线" panose="02010600030101010101" charset="-122"/>
                  </a:endParaRPr>
                </a:p>
              </p:txBody>
            </p:sp>
          </p:grpSp>
          <p:sp>
            <p:nvSpPr>
              <p:cNvPr id="91" name="Freeform 40"/>
              <p:cNvSpPr/>
              <p:nvPr/>
            </p:nvSpPr>
            <p:spPr bwMode="auto">
              <a:xfrm>
                <a:off x="5914131" y="3616854"/>
                <a:ext cx="2393895" cy="1619920"/>
              </a:xfrm>
              <a:custGeom>
                <a:avLst/>
                <a:gdLst>
                  <a:gd name="T0" fmla="*/ 948 w 1896"/>
                  <a:gd name="T1" fmla="*/ 121 h 1283"/>
                  <a:gd name="T2" fmla="*/ 0 w 1896"/>
                  <a:gd name="T3" fmla="*/ 1283 h 1283"/>
                  <a:gd name="T4" fmla="*/ 666 w 1896"/>
                  <a:gd name="T5" fmla="*/ 1143 h 1283"/>
                  <a:gd name="T6" fmla="*/ 1896 w 1896"/>
                  <a:gd name="T7" fmla="*/ 0 h 1283"/>
                  <a:gd name="T8" fmla="*/ 948 w 1896"/>
                  <a:gd name="T9" fmla="*/ 121 h 1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95" h="1283">
                    <a:moveTo>
                      <a:pt x="948" y="121"/>
                    </a:moveTo>
                    <a:lnTo>
                      <a:pt x="0" y="1283"/>
                    </a:lnTo>
                    <a:lnTo>
                      <a:pt x="666" y="1143"/>
                    </a:lnTo>
                    <a:lnTo>
                      <a:pt x="1896" y="0"/>
                    </a:lnTo>
                    <a:lnTo>
                      <a:pt x="948" y="121"/>
                    </a:lnTo>
                    <a:close/>
                  </a:path>
                </a:pathLst>
              </a:custGeom>
              <a:gradFill>
                <a:gsLst>
                  <a:gs pos="53000">
                    <a:schemeClr val="tx1">
                      <a:alpha val="0"/>
                    </a:schemeClr>
                  </a:gs>
                  <a:gs pos="100000">
                    <a:schemeClr val="tx1"/>
                  </a:gs>
                </a:gsLst>
                <a:lin ang="4800000" scaled="0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endParaRPr lang="zh-CN" altLang="en-US" dirty="0">
                  <a:latin typeface="+mj-lt"/>
                  <a:cs typeface="等线" panose="02010600030101010101" charset="-122"/>
                </a:endParaRPr>
              </a:p>
            </p:txBody>
          </p:sp>
        </p:grpSp>
        <p:grpSp>
          <p:nvGrpSpPr>
            <p:cNvPr id="87" name="组合 86"/>
            <p:cNvGrpSpPr/>
            <p:nvPr/>
          </p:nvGrpSpPr>
          <p:grpSpPr>
            <a:xfrm>
              <a:off x="5030557" y="4863989"/>
              <a:ext cx="2548620" cy="1767221"/>
              <a:chOff x="4742624" y="4623054"/>
              <a:chExt cx="2742373" cy="1901570"/>
            </a:xfrm>
            <a:effectLst>
              <a:outerShdw blurRad="76200" dist="76200" algn="l" rotWithShape="0">
                <a:prstClr val="black">
                  <a:alpha val="40000"/>
                </a:prstClr>
              </a:outerShdw>
            </a:effectLst>
          </p:grpSpPr>
          <p:grpSp>
            <p:nvGrpSpPr>
              <p:cNvPr id="68" name="组合 67"/>
              <p:cNvGrpSpPr/>
              <p:nvPr/>
            </p:nvGrpSpPr>
            <p:grpSpPr>
              <a:xfrm>
                <a:off x="4742624" y="4623054"/>
                <a:ext cx="2742373" cy="1901570"/>
                <a:chOff x="5792790" y="4976701"/>
                <a:chExt cx="3448050" cy="2390889"/>
              </a:xfrm>
            </p:grpSpPr>
            <p:grpSp>
              <p:nvGrpSpPr>
                <p:cNvPr id="59" name="组合 58"/>
                <p:cNvGrpSpPr/>
                <p:nvPr/>
              </p:nvGrpSpPr>
              <p:grpSpPr>
                <a:xfrm>
                  <a:off x="5792790" y="4989515"/>
                  <a:ext cx="3444875" cy="2378075"/>
                  <a:chOff x="5792790" y="4989515"/>
                  <a:chExt cx="3444875" cy="2378075"/>
                </a:xfrm>
              </p:grpSpPr>
              <p:sp>
                <p:nvSpPr>
                  <p:cNvPr id="52" name="AutoShape 46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5792790" y="4992690"/>
                    <a:ext cx="3441700" cy="237490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 dirty="0">
                      <a:latin typeface="+mj-lt"/>
                      <a:cs typeface="等线" panose="02010600030101010101" charset="-122"/>
                    </a:endParaRPr>
                  </a:p>
                </p:txBody>
              </p:sp>
              <p:sp>
                <p:nvSpPr>
                  <p:cNvPr id="53" name="Freeform 48"/>
                  <p:cNvSpPr/>
                  <p:nvPr/>
                </p:nvSpPr>
                <p:spPr bwMode="auto">
                  <a:xfrm>
                    <a:off x="6811965" y="4989515"/>
                    <a:ext cx="2425700" cy="1470025"/>
                  </a:xfrm>
                  <a:custGeom>
                    <a:avLst/>
                    <a:gdLst>
                      <a:gd name="T0" fmla="*/ 0 w 1528"/>
                      <a:gd name="T1" fmla="*/ 0 h 926"/>
                      <a:gd name="T2" fmla="*/ 1175 w 1528"/>
                      <a:gd name="T3" fmla="*/ 282 h 926"/>
                      <a:gd name="T4" fmla="*/ 1528 w 1528"/>
                      <a:gd name="T5" fmla="*/ 888 h 926"/>
                      <a:gd name="T6" fmla="*/ 445 w 1528"/>
                      <a:gd name="T7" fmla="*/ 926 h 926"/>
                      <a:gd name="T8" fmla="*/ 0 w 1528"/>
                      <a:gd name="T9" fmla="*/ 0 h 9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28" h="924">
                        <a:moveTo>
                          <a:pt x="0" y="0"/>
                        </a:moveTo>
                        <a:lnTo>
                          <a:pt x="1175" y="282"/>
                        </a:lnTo>
                        <a:lnTo>
                          <a:pt x="1528" y="888"/>
                        </a:lnTo>
                        <a:lnTo>
                          <a:pt x="445" y="92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40404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 dirty="0">
                      <a:latin typeface="+mj-lt"/>
                      <a:cs typeface="等线" panose="02010600030101010101" charset="-122"/>
                    </a:endParaRPr>
                  </a:p>
                </p:txBody>
              </p:sp>
              <p:sp>
                <p:nvSpPr>
                  <p:cNvPr id="54" name="Freeform 49"/>
                  <p:cNvSpPr/>
                  <p:nvPr/>
                </p:nvSpPr>
                <p:spPr bwMode="auto">
                  <a:xfrm>
                    <a:off x="6811965" y="4989515"/>
                    <a:ext cx="2425700" cy="1470025"/>
                  </a:xfrm>
                  <a:custGeom>
                    <a:avLst/>
                    <a:gdLst>
                      <a:gd name="T0" fmla="*/ 0 w 1528"/>
                      <a:gd name="T1" fmla="*/ 0 h 926"/>
                      <a:gd name="T2" fmla="*/ 1175 w 1528"/>
                      <a:gd name="T3" fmla="*/ 282 h 926"/>
                      <a:gd name="T4" fmla="*/ 1528 w 1528"/>
                      <a:gd name="T5" fmla="*/ 888 h 926"/>
                      <a:gd name="T6" fmla="*/ 445 w 1528"/>
                      <a:gd name="T7" fmla="*/ 926 h 926"/>
                      <a:gd name="T8" fmla="*/ 0 w 1528"/>
                      <a:gd name="T9" fmla="*/ 0 h 92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528" h="924">
                        <a:moveTo>
                          <a:pt x="0" y="0"/>
                        </a:moveTo>
                        <a:lnTo>
                          <a:pt x="1175" y="282"/>
                        </a:lnTo>
                        <a:lnTo>
                          <a:pt x="1528" y="888"/>
                        </a:lnTo>
                        <a:lnTo>
                          <a:pt x="445" y="92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adFill>
                    <a:gsLst>
                      <a:gs pos="100000">
                        <a:schemeClr val="accent4"/>
                      </a:gs>
                      <a:gs pos="0">
                        <a:schemeClr val="tx1"/>
                      </a:gs>
                      <a:gs pos="32000">
                        <a:schemeClr val="accent4">
                          <a:lumMod val="50000"/>
                        </a:schemeClr>
                      </a:gs>
                      <a:gs pos="60000">
                        <a:schemeClr val="accent4">
                          <a:lumMod val="75000"/>
                        </a:schemeClr>
                      </a:gs>
                    </a:gsLst>
                    <a:lin ang="9000000" scaled="0"/>
                  </a:gra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 dirty="0">
                      <a:latin typeface="+mj-lt"/>
                      <a:cs typeface="等线" panose="02010600030101010101" charset="-122"/>
                    </a:endParaRPr>
                  </a:p>
                </p:txBody>
              </p:sp>
              <p:sp>
                <p:nvSpPr>
                  <p:cNvPr id="55" name="Freeform 50"/>
                  <p:cNvSpPr/>
                  <p:nvPr/>
                </p:nvSpPr>
                <p:spPr bwMode="auto">
                  <a:xfrm>
                    <a:off x="6303965" y="6399215"/>
                    <a:ext cx="2933700" cy="968375"/>
                  </a:xfrm>
                  <a:custGeom>
                    <a:avLst/>
                    <a:gdLst>
                      <a:gd name="T0" fmla="*/ 765 w 1848"/>
                      <a:gd name="T1" fmla="*/ 38 h 610"/>
                      <a:gd name="T2" fmla="*/ 1848 w 1848"/>
                      <a:gd name="T3" fmla="*/ 0 h 610"/>
                      <a:gd name="T4" fmla="*/ 1273 w 1848"/>
                      <a:gd name="T5" fmla="*/ 363 h 610"/>
                      <a:gd name="T6" fmla="*/ 0 w 1848"/>
                      <a:gd name="T7" fmla="*/ 610 h 610"/>
                      <a:gd name="T8" fmla="*/ 765 w 1848"/>
                      <a:gd name="T9" fmla="*/ 38 h 61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848" h="610">
                        <a:moveTo>
                          <a:pt x="765" y="38"/>
                        </a:moveTo>
                        <a:lnTo>
                          <a:pt x="1848" y="0"/>
                        </a:lnTo>
                        <a:lnTo>
                          <a:pt x="1273" y="363"/>
                        </a:lnTo>
                        <a:lnTo>
                          <a:pt x="0" y="610"/>
                        </a:lnTo>
                        <a:lnTo>
                          <a:pt x="765" y="38"/>
                        </a:lnTo>
                        <a:close/>
                      </a:path>
                    </a:pathLst>
                  </a:custGeom>
                  <a:gradFill>
                    <a:gsLst>
                      <a:gs pos="100000">
                        <a:schemeClr val="accent4"/>
                      </a:gs>
                      <a:gs pos="34000">
                        <a:schemeClr val="accent4">
                          <a:lumMod val="50000"/>
                        </a:schemeClr>
                      </a:gs>
                      <a:gs pos="0">
                        <a:schemeClr val="tx1"/>
                      </a:gs>
                      <a:gs pos="55000">
                        <a:schemeClr val="accent4">
                          <a:lumMod val="75000"/>
                        </a:schemeClr>
                      </a:gs>
                    </a:gsLst>
                    <a:lin ang="13800000" scaled="0"/>
                  </a:gra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 dirty="0">
                      <a:latin typeface="+mj-lt"/>
                      <a:cs typeface="等线" panose="02010600030101010101" charset="-122"/>
                    </a:endParaRPr>
                  </a:p>
                </p:txBody>
              </p:sp>
              <p:sp>
                <p:nvSpPr>
                  <p:cNvPr id="56" name="Freeform 51"/>
                  <p:cNvSpPr/>
                  <p:nvPr/>
                </p:nvSpPr>
                <p:spPr bwMode="auto">
                  <a:xfrm>
                    <a:off x="5795965" y="4989515"/>
                    <a:ext cx="1722438" cy="2378075"/>
                  </a:xfrm>
                  <a:custGeom>
                    <a:avLst/>
                    <a:gdLst>
                      <a:gd name="T0" fmla="*/ 640 w 1085"/>
                      <a:gd name="T1" fmla="*/ 0 h 1498"/>
                      <a:gd name="T2" fmla="*/ 1085 w 1085"/>
                      <a:gd name="T3" fmla="*/ 926 h 1498"/>
                      <a:gd name="T4" fmla="*/ 320 w 1085"/>
                      <a:gd name="T5" fmla="*/ 1498 h 1498"/>
                      <a:gd name="T6" fmla="*/ 0 w 1085"/>
                      <a:gd name="T7" fmla="*/ 624 h 1498"/>
                      <a:gd name="T8" fmla="*/ 640 w 1085"/>
                      <a:gd name="T9" fmla="*/ 0 h 149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1085" h="1498">
                        <a:moveTo>
                          <a:pt x="640" y="0"/>
                        </a:moveTo>
                        <a:lnTo>
                          <a:pt x="1085" y="926"/>
                        </a:lnTo>
                        <a:lnTo>
                          <a:pt x="320" y="1498"/>
                        </a:lnTo>
                        <a:lnTo>
                          <a:pt x="0" y="624"/>
                        </a:lnTo>
                        <a:lnTo>
                          <a:pt x="640" y="0"/>
                        </a:lnTo>
                        <a:close/>
                      </a:path>
                    </a:pathLst>
                  </a:custGeom>
                  <a:gradFill>
                    <a:gsLst>
                      <a:gs pos="0">
                        <a:schemeClr val="accent4">
                          <a:lumMod val="60000"/>
                          <a:lumOff val="40000"/>
                        </a:schemeClr>
                      </a:gs>
                      <a:gs pos="75000">
                        <a:schemeClr val="accent4">
                          <a:lumMod val="75000"/>
                        </a:schemeClr>
                      </a:gs>
                    </a:gsLst>
                    <a:lin ang="8400000" scaled="0"/>
                  </a:gra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 dirty="0">
                      <a:latin typeface="+mj-lt"/>
                      <a:cs typeface="等线" panose="02010600030101010101" charset="-122"/>
                    </a:endParaRPr>
                  </a:p>
                </p:txBody>
              </p:sp>
              <p:sp>
                <p:nvSpPr>
                  <p:cNvPr id="57" name="Freeform 52"/>
                  <p:cNvSpPr/>
                  <p:nvPr/>
                </p:nvSpPr>
                <p:spPr bwMode="auto">
                  <a:xfrm>
                    <a:off x="6330953" y="5826128"/>
                    <a:ext cx="627063" cy="814388"/>
                  </a:xfrm>
                  <a:custGeom>
                    <a:avLst/>
                    <a:gdLst>
                      <a:gd name="T0" fmla="*/ 158 w 167"/>
                      <a:gd name="T1" fmla="*/ 109 h 216"/>
                      <a:gd name="T2" fmla="*/ 143 w 167"/>
                      <a:gd name="T3" fmla="*/ 166 h 216"/>
                      <a:gd name="T4" fmla="*/ 79 w 167"/>
                      <a:gd name="T5" fmla="*/ 207 h 216"/>
                      <a:gd name="T6" fmla="*/ 39 w 167"/>
                      <a:gd name="T7" fmla="*/ 190 h 216"/>
                      <a:gd name="T8" fmla="*/ 8 w 167"/>
                      <a:gd name="T9" fmla="*/ 116 h 216"/>
                      <a:gd name="T10" fmla="*/ 19 w 167"/>
                      <a:gd name="T11" fmla="*/ 62 h 216"/>
                      <a:gd name="T12" fmla="*/ 78 w 167"/>
                      <a:gd name="T13" fmla="*/ 13 h 216"/>
                      <a:gd name="T14" fmla="*/ 123 w 167"/>
                      <a:gd name="T15" fmla="*/ 26 h 216"/>
                      <a:gd name="T16" fmla="*/ 158 w 167"/>
                      <a:gd name="T17" fmla="*/ 109 h 21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67" h="216">
                        <a:moveTo>
                          <a:pt x="158" y="109"/>
                        </a:moveTo>
                        <a:cubicBezTo>
                          <a:pt x="167" y="129"/>
                          <a:pt x="160" y="155"/>
                          <a:pt x="143" y="166"/>
                        </a:cubicBezTo>
                        <a:cubicBezTo>
                          <a:pt x="79" y="207"/>
                          <a:pt x="79" y="207"/>
                          <a:pt x="79" y="207"/>
                        </a:cubicBezTo>
                        <a:cubicBezTo>
                          <a:pt x="65" y="216"/>
                          <a:pt x="47" y="209"/>
                          <a:pt x="39" y="190"/>
                        </a:cubicBezTo>
                        <a:cubicBezTo>
                          <a:pt x="8" y="116"/>
                          <a:pt x="8" y="116"/>
                          <a:pt x="8" y="116"/>
                        </a:cubicBezTo>
                        <a:cubicBezTo>
                          <a:pt x="0" y="97"/>
                          <a:pt x="5" y="74"/>
                          <a:pt x="19" y="62"/>
                        </a:cubicBezTo>
                        <a:cubicBezTo>
                          <a:pt x="78" y="13"/>
                          <a:pt x="78" y="13"/>
                          <a:pt x="78" y="13"/>
                        </a:cubicBezTo>
                        <a:cubicBezTo>
                          <a:pt x="94" y="0"/>
                          <a:pt x="114" y="5"/>
                          <a:pt x="123" y="26"/>
                        </a:cubicBezTo>
                        <a:lnTo>
                          <a:pt x="158" y="109"/>
                        </a:ln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/>
                  <a:lstStyle/>
                  <a:p>
                    <a:endParaRPr lang="zh-CN" altLang="en-US" dirty="0">
                      <a:latin typeface="+mj-lt"/>
                      <a:cs typeface="等线" panose="02010600030101010101" charset="-122"/>
                    </a:endParaRPr>
                  </a:p>
                </p:txBody>
              </p:sp>
            </p:grpSp>
            <p:sp>
              <p:nvSpPr>
                <p:cNvPr id="67" name="Freeform 61"/>
                <p:cNvSpPr/>
                <p:nvPr/>
              </p:nvSpPr>
              <p:spPr bwMode="auto">
                <a:xfrm>
                  <a:off x="6811964" y="4976701"/>
                  <a:ext cx="2428876" cy="1481137"/>
                </a:xfrm>
                <a:custGeom>
                  <a:avLst/>
                  <a:gdLst>
                    <a:gd name="T0" fmla="*/ 645 w 645"/>
                    <a:gd name="T1" fmla="*/ 374 h 392"/>
                    <a:gd name="T2" fmla="*/ 417 w 645"/>
                    <a:gd name="T3" fmla="*/ 383 h 392"/>
                    <a:gd name="T4" fmla="*/ 189 w 645"/>
                    <a:gd name="T5" fmla="*/ 392 h 392"/>
                    <a:gd name="T6" fmla="*/ 187 w 645"/>
                    <a:gd name="T7" fmla="*/ 392 h 392"/>
                    <a:gd name="T8" fmla="*/ 187 w 645"/>
                    <a:gd name="T9" fmla="*/ 391 h 392"/>
                    <a:gd name="T10" fmla="*/ 0 w 645"/>
                    <a:gd name="T11" fmla="*/ 0 h 392"/>
                    <a:gd name="T12" fmla="*/ 190 w 645"/>
                    <a:gd name="T13" fmla="*/ 389 h 392"/>
                    <a:gd name="T14" fmla="*/ 188 w 645"/>
                    <a:gd name="T15" fmla="*/ 388 h 392"/>
                    <a:gd name="T16" fmla="*/ 417 w 645"/>
                    <a:gd name="T17" fmla="*/ 380 h 392"/>
                    <a:gd name="T18" fmla="*/ 645 w 645"/>
                    <a:gd name="T19" fmla="*/ 374 h 3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45" h="392">
                      <a:moveTo>
                        <a:pt x="645" y="374"/>
                      </a:moveTo>
                      <a:cubicBezTo>
                        <a:pt x="569" y="377"/>
                        <a:pt x="493" y="380"/>
                        <a:pt x="417" y="383"/>
                      </a:cubicBezTo>
                      <a:cubicBezTo>
                        <a:pt x="189" y="392"/>
                        <a:pt x="189" y="392"/>
                        <a:pt x="189" y="392"/>
                      </a:cubicBezTo>
                      <a:cubicBezTo>
                        <a:pt x="187" y="392"/>
                        <a:pt x="187" y="392"/>
                        <a:pt x="187" y="392"/>
                      </a:cubicBezTo>
                      <a:cubicBezTo>
                        <a:pt x="187" y="391"/>
                        <a:pt x="187" y="391"/>
                        <a:pt x="187" y="391"/>
                      </a:cubicBezTo>
                      <a:cubicBezTo>
                        <a:pt x="125" y="261"/>
                        <a:pt x="62" y="131"/>
                        <a:pt x="0" y="0"/>
                      </a:cubicBezTo>
                      <a:cubicBezTo>
                        <a:pt x="65" y="129"/>
                        <a:pt x="127" y="259"/>
                        <a:pt x="190" y="389"/>
                      </a:cubicBezTo>
                      <a:cubicBezTo>
                        <a:pt x="188" y="388"/>
                        <a:pt x="188" y="388"/>
                        <a:pt x="188" y="388"/>
                      </a:cubicBezTo>
                      <a:cubicBezTo>
                        <a:pt x="417" y="380"/>
                        <a:pt x="417" y="380"/>
                        <a:pt x="417" y="380"/>
                      </a:cubicBezTo>
                      <a:cubicBezTo>
                        <a:pt x="493" y="378"/>
                        <a:pt x="569" y="376"/>
                        <a:pt x="645" y="374"/>
                      </a:cubicBezTo>
                      <a:close/>
                    </a:path>
                  </a:pathLst>
                </a:custGeom>
                <a:solidFill>
                  <a:schemeClr val="accent4">
                    <a:lumMod val="40000"/>
                    <a:lumOff val="6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zh-CN" altLang="en-US" dirty="0">
                    <a:latin typeface="+mj-lt"/>
                    <a:cs typeface="等线" panose="02010600030101010101" charset="-122"/>
                  </a:endParaRPr>
                </a:p>
              </p:txBody>
            </p:sp>
          </p:grpSp>
          <p:sp>
            <p:nvSpPr>
              <p:cNvPr id="78" name="文本框 77"/>
              <p:cNvSpPr txBox="1"/>
              <p:nvPr/>
            </p:nvSpPr>
            <p:spPr>
              <a:xfrm rot="20226460">
                <a:off x="5167313" y="5295764"/>
                <a:ext cx="321639" cy="6973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3200" dirty="0">
                    <a:solidFill>
                      <a:schemeClr val="accent4">
                        <a:lumMod val="75000"/>
                      </a:schemeClr>
                    </a:solidFill>
                    <a:latin typeface="+mj-lt"/>
                    <a:ea typeface="微软雅黑" panose="020B0503020204020204" pitchFamily="34" charset="-122"/>
                    <a:cs typeface="等线" panose="02010600030101010101" charset="-122"/>
                  </a:rPr>
                  <a:t>D</a:t>
                </a:r>
                <a:endParaRPr lang="zh-CN" altLang="en-US" sz="3200" dirty="0">
                  <a:solidFill>
                    <a:schemeClr val="accent4">
                      <a:lumMod val="7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endParaRPr>
              </a:p>
            </p:txBody>
          </p:sp>
        </p:grpSp>
      </p:grpSp>
      <p:sp>
        <p:nvSpPr>
          <p:cNvPr id="64" name="TextBox 6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flipH="1">
            <a:off x="8629069" y="1965941"/>
            <a:ext cx="15937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altLang="zh-CN" sz="4500" spc="188" dirty="0">
                <a:gradFill>
                  <a:gsLst>
                    <a:gs pos="0">
                      <a:schemeClr val="accent1"/>
                    </a:gs>
                    <a:gs pos="45000">
                      <a:schemeClr val="accent1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5400000" scaled="1"/>
                </a:gradFill>
                <a:latin typeface="+mj-lt"/>
                <a:cs typeface="等线" panose="02010600030101010101" charset="-122"/>
              </a:rPr>
              <a:t>C</a:t>
            </a:r>
            <a:endParaRPr lang="en-US" sz="4500" spc="188" dirty="0">
              <a:gradFill>
                <a:gsLst>
                  <a:gs pos="0">
                    <a:schemeClr val="accent1"/>
                  </a:gs>
                  <a:gs pos="45000">
                    <a:schemeClr val="accent1"/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</a:gradFill>
              <a:latin typeface="+mj-lt"/>
              <a:cs typeface="等线" panose="02010600030101010101" charset="-122"/>
            </a:endParaRPr>
          </a:p>
        </p:txBody>
      </p:sp>
      <p:sp>
        <p:nvSpPr>
          <p:cNvPr id="94" name="TextBox 6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flipH="1">
            <a:off x="8664236" y="3892849"/>
            <a:ext cx="18252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altLang="zh-CN" sz="4500" spc="188" dirty="0">
                <a:gradFill>
                  <a:gsLst>
                    <a:gs pos="0">
                      <a:schemeClr val="accent4"/>
                    </a:gs>
                    <a:gs pos="45000">
                      <a:schemeClr val="accent4">
                        <a:alpha val="65000"/>
                      </a:schemeClr>
                    </a:gs>
                    <a:gs pos="100000">
                      <a:schemeClr val="accent4">
                        <a:alpha val="0"/>
                      </a:schemeClr>
                    </a:gs>
                  </a:gsLst>
                  <a:lin ang="5400000" scaled="1"/>
                </a:gradFill>
                <a:latin typeface="+mj-lt"/>
                <a:cs typeface="等线" panose="02010600030101010101" charset="-122"/>
              </a:rPr>
              <a:t>D</a:t>
            </a:r>
            <a:endParaRPr lang="en-US" sz="4500" spc="188" dirty="0">
              <a:gradFill>
                <a:gsLst>
                  <a:gs pos="0">
                    <a:schemeClr val="accent4"/>
                  </a:gs>
                  <a:gs pos="45000">
                    <a:schemeClr val="accent4">
                      <a:alpha val="65000"/>
                    </a:schemeClr>
                  </a:gs>
                  <a:gs pos="100000">
                    <a:schemeClr val="accent4">
                      <a:alpha val="0"/>
                    </a:schemeClr>
                  </a:gs>
                </a:gsLst>
                <a:lin ang="5400000" scaled="1"/>
              </a:gradFill>
              <a:latin typeface="+mj-lt"/>
              <a:cs typeface="等线" panose="02010600030101010101" charset="-122"/>
            </a:endParaRPr>
          </a:p>
        </p:txBody>
      </p:sp>
      <p:sp>
        <p:nvSpPr>
          <p:cNvPr id="97" name="Freeform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689235" y="2698267"/>
            <a:ext cx="163914" cy="163914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98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947555" y="2564090"/>
            <a:ext cx="2424399" cy="483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dynamic total linkage vis-a-vis competitive platforms. </a:t>
            </a:r>
          </a:p>
        </p:txBody>
      </p:sp>
      <p:sp>
        <p:nvSpPr>
          <p:cNvPr id="99" name="Freeform 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678612" y="3273268"/>
            <a:ext cx="163914" cy="163914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00" name="Rectangle 2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936932" y="3139091"/>
            <a:ext cx="2424399" cy="483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dynamic total linkage vis-a-vis competitive platforms. </a:t>
            </a:r>
          </a:p>
        </p:txBody>
      </p:sp>
      <p:sp>
        <p:nvSpPr>
          <p:cNvPr id="101" name="Freeform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747281" y="4591389"/>
            <a:ext cx="163914" cy="163914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02" name="Rectangle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005601" y="4457213"/>
            <a:ext cx="2424399" cy="483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dynamic total linkage vis-a-vis competitive platforms. </a:t>
            </a:r>
          </a:p>
        </p:txBody>
      </p:sp>
      <p:sp>
        <p:nvSpPr>
          <p:cNvPr id="103" name="Freeform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747281" y="5166390"/>
            <a:ext cx="163914" cy="163914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04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005601" y="5032214"/>
            <a:ext cx="2424399" cy="483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dynamic total linkage vis-a-vis competitive platforms. </a:t>
            </a:r>
          </a:p>
        </p:txBody>
      </p:sp>
      <p:sp>
        <p:nvSpPr>
          <p:cNvPr id="105" name="Freeform 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736659" y="5741391"/>
            <a:ext cx="163914" cy="163914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06" name="Rectangle 2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994978" y="5607215"/>
            <a:ext cx="2424399" cy="483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dynamic total linkage vis-a-vis competitive platforms. </a:t>
            </a:r>
          </a:p>
        </p:txBody>
      </p:sp>
      <p:sp>
        <p:nvSpPr>
          <p:cNvPr id="109" name="TextBox 6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flipH="1">
            <a:off x="2771000" y="1859955"/>
            <a:ext cx="15937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altLang="zh-CN" sz="4500" spc="188" dirty="0">
                <a:gradFill>
                  <a:gsLst>
                    <a:gs pos="0">
                      <a:schemeClr val="accent1"/>
                    </a:gs>
                    <a:gs pos="45000">
                      <a:schemeClr val="accent1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5400000" scaled="1"/>
                </a:gradFill>
                <a:latin typeface="+mj-lt"/>
                <a:cs typeface="等线" panose="02010600030101010101" charset="-122"/>
              </a:rPr>
              <a:t>A</a:t>
            </a:r>
            <a:endParaRPr lang="en-US" sz="4500" spc="188" dirty="0">
              <a:gradFill>
                <a:gsLst>
                  <a:gs pos="0">
                    <a:schemeClr val="accent1"/>
                  </a:gs>
                  <a:gs pos="45000">
                    <a:schemeClr val="accent1"/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</a:gradFill>
              <a:latin typeface="+mj-lt"/>
              <a:cs typeface="等线" panose="02010600030101010101" charset="-122"/>
            </a:endParaRPr>
          </a:p>
        </p:txBody>
      </p:sp>
      <p:grpSp>
        <p:nvGrpSpPr>
          <p:cNvPr id="111" name="Group 5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94130" y="3784898"/>
            <a:ext cx="3720944" cy="843621"/>
            <a:chOff x="13551255" y="5636457"/>
            <a:chExt cx="6406113" cy="1452409"/>
          </a:xfrm>
        </p:grpSpPr>
        <p:sp>
          <p:nvSpPr>
            <p:cNvPr id="112" name="Rectangle 65"/>
            <p:cNvSpPr/>
            <p:nvPr/>
          </p:nvSpPr>
          <p:spPr>
            <a:xfrm flipH="1">
              <a:off x="13551255" y="6532493"/>
              <a:ext cx="3777457" cy="5563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500" dirty="0">
                  <a:solidFill>
                    <a:schemeClr val="bg1"/>
                  </a:solidFill>
                  <a:latin typeface="+mj-lt"/>
                  <a:cs typeface="等线" panose="02010600030101010101" charset="-122"/>
                </a:rPr>
                <a:t>Your Title Goes Here</a:t>
              </a:r>
            </a:p>
          </p:txBody>
        </p:sp>
        <p:sp>
          <p:nvSpPr>
            <p:cNvPr id="113" name="TextBox 66"/>
            <p:cNvSpPr txBox="1"/>
            <p:nvPr/>
          </p:nvSpPr>
          <p:spPr>
            <a:xfrm flipH="1">
              <a:off x="16814960" y="5636457"/>
              <a:ext cx="3142408" cy="11127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altLang="zh-CN" sz="4500" spc="188" dirty="0">
                  <a:gradFill>
                    <a:gsLst>
                      <a:gs pos="0">
                        <a:schemeClr val="accent4"/>
                      </a:gs>
                      <a:gs pos="45000">
                        <a:schemeClr val="accent4">
                          <a:alpha val="65000"/>
                        </a:schemeClr>
                      </a:gs>
                      <a:gs pos="100000">
                        <a:schemeClr val="accent4">
                          <a:alpha val="0"/>
                        </a:schemeClr>
                      </a:gs>
                    </a:gsLst>
                    <a:lin ang="5400000" scaled="1"/>
                  </a:gradFill>
                  <a:latin typeface="+mj-lt"/>
                  <a:cs typeface="等线" panose="02010600030101010101" charset="-122"/>
                </a:rPr>
                <a:t>B</a:t>
              </a:r>
              <a:endParaRPr lang="en-US" sz="4500" spc="188" dirty="0">
                <a:gradFill>
                  <a:gsLst>
                    <a:gs pos="0">
                      <a:schemeClr val="accent4"/>
                    </a:gs>
                    <a:gs pos="45000">
                      <a:schemeClr val="accent4">
                        <a:alpha val="65000"/>
                      </a:schemeClr>
                    </a:gs>
                    <a:gs pos="100000">
                      <a:schemeClr val="accent4">
                        <a:alpha val="0"/>
                      </a:schemeClr>
                    </a:gs>
                  </a:gsLst>
                  <a:lin ang="5400000" scaled="1"/>
                </a:gradFill>
                <a:latin typeface="+mj-lt"/>
                <a:cs typeface="等线" panose="02010600030101010101" charset="-122"/>
              </a:endParaRPr>
            </a:p>
          </p:txBody>
        </p:sp>
      </p:grpSp>
      <p:sp>
        <p:nvSpPr>
          <p:cNvPr id="118" name="Freeform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78449" y="2611109"/>
            <a:ext cx="163914" cy="163914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19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36768" y="2476932"/>
            <a:ext cx="2424399" cy="483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dynamic total linkage vis-a-vis competitive platforms. </a:t>
            </a:r>
          </a:p>
        </p:txBody>
      </p:sp>
      <p:sp>
        <p:nvSpPr>
          <p:cNvPr id="120" name="Freeform 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67826" y="3186110"/>
            <a:ext cx="163914" cy="163914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21" name="Rectangle 2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26146" y="3051933"/>
            <a:ext cx="2424399" cy="483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dynamic total linkage vis-a-vis competitive platforms. </a:t>
            </a:r>
          </a:p>
        </p:txBody>
      </p:sp>
      <p:sp>
        <p:nvSpPr>
          <p:cNvPr id="122" name="Freeform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36495" y="4504231"/>
            <a:ext cx="163914" cy="163914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23" name="Rectangle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94815" y="4370055"/>
            <a:ext cx="2424399" cy="483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dynamic total linkage vis-a-vis competitive platforms. </a:t>
            </a:r>
          </a:p>
        </p:txBody>
      </p:sp>
      <p:sp>
        <p:nvSpPr>
          <p:cNvPr id="124" name="Freeform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36495" y="5079232"/>
            <a:ext cx="163914" cy="163914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25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94815" y="4945056"/>
            <a:ext cx="2424399" cy="483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dynamic total linkage vis-a-vis competitive platforms. </a:t>
            </a:r>
          </a:p>
        </p:txBody>
      </p:sp>
      <p:sp>
        <p:nvSpPr>
          <p:cNvPr id="126" name="Freeform 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25872" y="5654233"/>
            <a:ext cx="163914" cy="163914"/>
          </a:xfrm>
          <a:custGeom>
            <a:avLst/>
            <a:gdLst/>
            <a:ahLst/>
            <a:cxnLst/>
            <a:rect l="l" t="t" r="r" b="b"/>
            <a:pathLst>
              <a:path w="195943" h="195943">
                <a:moveTo>
                  <a:pt x="144151" y="57533"/>
                </a:moveTo>
                <a:cubicBezTo>
                  <a:pt x="141940" y="57533"/>
                  <a:pt x="140026" y="58340"/>
                  <a:pt x="138410" y="59956"/>
                </a:cubicBezTo>
                <a:lnTo>
                  <a:pt x="86363" y="111876"/>
                </a:lnTo>
                <a:lnTo>
                  <a:pt x="57533" y="83046"/>
                </a:lnTo>
                <a:cubicBezTo>
                  <a:pt x="55917" y="81430"/>
                  <a:pt x="54003" y="80622"/>
                  <a:pt x="51792" y="80622"/>
                </a:cubicBezTo>
                <a:cubicBezTo>
                  <a:pt x="49581" y="80622"/>
                  <a:pt x="47668" y="81430"/>
                  <a:pt x="46052" y="83046"/>
                </a:cubicBezTo>
                <a:lnTo>
                  <a:pt x="34443" y="94527"/>
                </a:lnTo>
                <a:cubicBezTo>
                  <a:pt x="32912" y="96058"/>
                  <a:pt x="32147" y="98014"/>
                  <a:pt x="32147" y="100395"/>
                </a:cubicBezTo>
                <a:cubicBezTo>
                  <a:pt x="32147" y="102691"/>
                  <a:pt x="32912" y="104605"/>
                  <a:pt x="34443" y="106136"/>
                </a:cubicBezTo>
                <a:lnTo>
                  <a:pt x="80622" y="152315"/>
                </a:lnTo>
                <a:cubicBezTo>
                  <a:pt x="82238" y="153931"/>
                  <a:pt x="84152" y="154739"/>
                  <a:pt x="86363" y="154739"/>
                </a:cubicBezTo>
                <a:cubicBezTo>
                  <a:pt x="88659" y="154739"/>
                  <a:pt x="90615" y="153931"/>
                  <a:pt x="92231" y="152315"/>
                </a:cubicBezTo>
                <a:lnTo>
                  <a:pt x="161500" y="83046"/>
                </a:lnTo>
                <a:cubicBezTo>
                  <a:pt x="163031" y="81515"/>
                  <a:pt x="163796" y="79602"/>
                  <a:pt x="163796" y="77305"/>
                </a:cubicBezTo>
                <a:cubicBezTo>
                  <a:pt x="163796" y="74924"/>
                  <a:pt x="163031" y="72968"/>
                  <a:pt x="161500" y="71437"/>
                </a:cubicBezTo>
                <a:lnTo>
                  <a:pt x="149891" y="59956"/>
                </a:lnTo>
                <a:cubicBezTo>
                  <a:pt x="148275" y="58340"/>
                  <a:pt x="146362" y="57533"/>
                  <a:pt x="144151" y="57533"/>
                </a:cubicBezTo>
                <a:close/>
                <a:moveTo>
                  <a:pt x="97972" y="0"/>
                </a:moveTo>
                <a:cubicBezTo>
                  <a:pt x="115746" y="0"/>
                  <a:pt x="132138" y="4380"/>
                  <a:pt x="147149" y="13139"/>
                </a:cubicBezTo>
                <a:cubicBezTo>
                  <a:pt x="162159" y="21899"/>
                  <a:pt x="174044" y="33784"/>
                  <a:pt x="182804" y="48794"/>
                </a:cubicBezTo>
                <a:cubicBezTo>
                  <a:pt x="191563" y="63805"/>
                  <a:pt x="195943" y="80197"/>
                  <a:pt x="195943" y="97971"/>
                </a:cubicBezTo>
                <a:cubicBezTo>
                  <a:pt x="195943" y="115746"/>
                  <a:pt x="191563" y="132138"/>
                  <a:pt x="182804" y="147148"/>
                </a:cubicBezTo>
                <a:cubicBezTo>
                  <a:pt x="174044" y="162159"/>
                  <a:pt x="162159" y="174044"/>
                  <a:pt x="147149" y="182803"/>
                </a:cubicBezTo>
                <a:cubicBezTo>
                  <a:pt x="132138" y="191563"/>
                  <a:pt x="115746" y="195943"/>
                  <a:pt x="97972" y="195943"/>
                </a:cubicBezTo>
                <a:cubicBezTo>
                  <a:pt x="80197" y="195943"/>
                  <a:pt x="63805" y="191563"/>
                  <a:pt x="48794" y="182803"/>
                </a:cubicBezTo>
                <a:cubicBezTo>
                  <a:pt x="33784" y="174044"/>
                  <a:pt x="21899" y="162159"/>
                  <a:pt x="13140" y="147148"/>
                </a:cubicBezTo>
                <a:cubicBezTo>
                  <a:pt x="4380" y="132138"/>
                  <a:pt x="0" y="115746"/>
                  <a:pt x="0" y="97971"/>
                </a:cubicBezTo>
                <a:cubicBezTo>
                  <a:pt x="0" y="80197"/>
                  <a:pt x="4380" y="63805"/>
                  <a:pt x="13140" y="48794"/>
                </a:cubicBezTo>
                <a:cubicBezTo>
                  <a:pt x="21899" y="33784"/>
                  <a:pt x="33784" y="21899"/>
                  <a:pt x="48794" y="13139"/>
                </a:cubicBezTo>
                <a:cubicBezTo>
                  <a:pt x="63805" y="4380"/>
                  <a:pt x="80197" y="0"/>
                  <a:pt x="9797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noAutofit/>
          </a:bodyPr>
          <a:lstStyle/>
          <a:p>
            <a:endParaRPr lang="en-US" sz="2000" dirty="0">
              <a:solidFill>
                <a:schemeClr val="tx2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27" name="Rectangle 2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84192" y="5520057"/>
            <a:ext cx="2424399" cy="483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Distinctively </a:t>
            </a:r>
            <a:r>
              <a:rPr lang="en-US" sz="900" dirty="0" err="1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productivate</a:t>
            </a:r>
            <a:r>
              <a:rPr lang="en-US" sz="900" dirty="0">
                <a:solidFill>
                  <a:schemeClr val="tx2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dynamic total linkage vis-a-vis competitive platforms. </a:t>
            </a:r>
          </a:p>
        </p:txBody>
      </p:sp>
      <p:sp>
        <p:nvSpPr>
          <p:cNvPr id="128" name="Text Placeholder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495349" y="708574"/>
            <a:ext cx="5201301" cy="629691"/>
          </a:xfrm>
          <a:prstGeom prst="rect">
            <a:avLst/>
          </a:prstGeom>
        </p:spPr>
        <p:txBody>
          <a:bodyPr/>
          <a:lstStyle>
            <a:lvl1pPr marL="0" indent="0" algn="ctr" defTabSz="1460500" rtl="0" eaLnBrk="1" latinLnBrk="0" hangingPunct="1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4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095375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3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626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31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5651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8676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1701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4726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78145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08395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solidFill>
                  <a:schemeClr val="tx1"/>
                </a:solidFill>
                <a:latin typeface="+mj-ea"/>
                <a:ea typeface="+mj-ea"/>
                <a:cs typeface="等线" panose="02010600030101010101" charset="-122"/>
              </a:rPr>
              <a:t>Infographic Slide</a:t>
            </a:r>
            <a:endParaRPr lang="id-ID" sz="3600" dirty="0">
              <a:solidFill>
                <a:schemeClr val="tx1"/>
              </a:solidFill>
              <a:latin typeface="+mj-ea"/>
              <a:ea typeface="+mj-ea"/>
              <a:cs typeface="等线" panose="02010600030101010101" charset="-122"/>
            </a:endParaRPr>
          </a:p>
        </p:txBody>
      </p:sp>
      <p:sp>
        <p:nvSpPr>
          <p:cNvPr id="132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1"/>
            </p:custDataLst>
          </p:nvPr>
        </p:nvSpPr>
        <p:spPr>
          <a:xfrm>
            <a:off x="3840480" y="357734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2000">
        <p:random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 advTm="2000">
        <p:random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5" name="Group 62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 rot="10800000" flipH="1">
            <a:off x="9893300" y="2992758"/>
            <a:ext cx="1460310" cy="1299844"/>
            <a:chOff x="0" y="0"/>
            <a:chExt cx="2920619" cy="2599686"/>
          </a:xfrm>
        </p:grpSpPr>
        <p:sp>
          <p:nvSpPr>
            <p:cNvPr id="612" name="Shape 612"/>
            <p:cNvSpPr/>
            <p:nvPr/>
          </p:nvSpPr>
          <p:spPr>
            <a:xfrm>
              <a:off x="0" y="0"/>
              <a:ext cx="2920620" cy="259968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9847"/>
                  </a:moveTo>
                  <a:lnTo>
                    <a:pt x="1796" y="20374"/>
                  </a:lnTo>
                  <a:cubicBezTo>
                    <a:pt x="1796" y="20374"/>
                    <a:pt x="3515" y="20662"/>
                    <a:pt x="3610" y="20764"/>
                  </a:cubicBezTo>
                  <a:cubicBezTo>
                    <a:pt x="3704" y="20865"/>
                    <a:pt x="5402" y="20971"/>
                    <a:pt x="5402" y="20971"/>
                  </a:cubicBezTo>
                  <a:cubicBezTo>
                    <a:pt x="5402" y="20971"/>
                    <a:pt x="6612" y="21078"/>
                    <a:pt x="6708" y="21078"/>
                  </a:cubicBezTo>
                  <a:cubicBezTo>
                    <a:pt x="6804" y="21078"/>
                    <a:pt x="8782" y="21219"/>
                    <a:pt x="8782" y="21219"/>
                  </a:cubicBezTo>
                  <a:lnTo>
                    <a:pt x="9857" y="21529"/>
                  </a:lnTo>
                  <a:lnTo>
                    <a:pt x="10574" y="21600"/>
                  </a:lnTo>
                  <a:lnTo>
                    <a:pt x="14169" y="21356"/>
                  </a:lnTo>
                  <a:lnTo>
                    <a:pt x="15332" y="21144"/>
                  </a:lnTo>
                  <a:cubicBezTo>
                    <a:pt x="15332" y="21144"/>
                    <a:pt x="16084" y="20932"/>
                    <a:pt x="16213" y="20932"/>
                  </a:cubicBezTo>
                  <a:cubicBezTo>
                    <a:pt x="16342" y="20932"/>
                    <a:pt x="17466" y="20932"/>
                    <a:pt x="17466" y="20932"/>
                  </a:cubicBezTo>
                  <a:cubicBezTo>
                    <a:pt x="17466" y="20932"/>
                    <a:pt x="18449" y="21034"/>
                    <a:pt x="18578" y="20932"/>
                  </a:cubicBezTo>
                  <a:cubicBezTo>
                    <a:pt x="18707" y="20830"/>
                    <a:pt x="19606" y="20826"/>
                    <a:pt x="19688" y="20724"/>
                  </a:cubicBezTo>
                  <a:cubicBezTo>
                    <a:pt x="19769" y="20622"/>
                    <a:pt x="20916" y="20551"/>
                    <a:pt x="20916" y="20551"/>
                  </a:cubicBezTo>
                  <a:lnTo>
                    <a:pt x="21600" y="20232"/>
                  </a:lnTo>
                  <a:lnTo>
                    <a:pt x="21354" y="18157"/>
                  </a:lnTo>
                  <a:cubicBezTo>
                    <a:pt x="21354" y="18157"/>
                    <a:pt x="21094" y="16985"/>
                    <a:pt x="21000" y="16299"/>
                  </a:cubicBezTo>
                  <a:cubicBezTo>
                    <a:pt x="20906" y="15612"/>
                    <a:pt x="20418" y="14559"/>
                    <a:pt x="20418" y="14559"/>
                  </a:cubicBezTo>
                  <a:lnTo>
                    <a:pt x="19800" y="14134"/>
                  </a:lnTo>
                  <a:lnTo>
                    <a:pt x="19543" y="14343"/>
                  </a:lnTo>
                  <a:lnTo>
                    <a:pt x="19072" y="13930"/>
                  </a:lnTo>
                  <a:lnTo>
                    <a:pt x="18290" y="13718"/>
                  </a:lnTo>
                  <a:lnTo>
                    <a:pt x="17870" y="12700"/>
                  </a:lnTo>
                  <a:lnTo>
                    <a:pt x="17151" y="12382"/>
                  </a:lnTo>
                  <a:lnTo>
                    <a:pt x="16637" y="11408"/>
                  </a:lnTo>
                  <a:lnTo>
                    <a:pt x="15904" y="11514"/>
                  </a:lnTo>
                  <a:lnTo>
                    <a:pt x="15562" y="10328"/>
                  </a:lnTo>
                  <a:lnTo>
                    <a:pt x="15243" y="9841"/>
                  </a:lnTo>
                  <a:lnTo>
                    <a:pt x="14491" y="6253"/>
                  </a:lnTo>
                  <a:lnTo>
                    <a:pt x="14002" y="6358"/>
                  </a:lnTo>
                  <a:lnTo>
                    <a:pt x="13662" y="4823"/>
                  </a:lnTo>
                  <a:lnTo>
                    <a:pt x="12858" y="3840"/>
                  </a:lnTo>
                  <a:lnTo>
                    <a:pt x="12275" y="4752"/>
                  </a:lnTo>
                  <a:lnTo>
                    <a:pt x="11967" y="4858"/>
                  </a:lnTo>
                  <a:lnTo>
                    <a:pt x="11740" y="2385"/>
                  </a:lnTo>
                  <a:lnTo>
                    <a:pt x="10943" y="1960"/>
                  </a:lnTo>
                  <a:lnTo>
                    <a:pt x="10315" y="739"/>
                  </a:lnTo>
                  <a:lnTo>
                    <a:pt x="9612" y="0"/>
                  </a:lnTo>
                  <a:cubicBezTo>
                    <a:pt x="9612" y="0"/>
                    <a:pt x="9090" y="106"/>
                    <a:pt x="9008" y="212"/>
                  </a:cubicBezTo>
                  <a:cubicBezTo>
                    <a:pt x="8926" y="319"/>
                    <a:pt x="8603" y="810"/>
                    <a:pt x="8603" y="810"/>
                  </a:cubicBezTo>
                  <a:lnTo>
                    <a:pt x="7955" y="1124"/>
                  </a:lnTo>
                  <a:lnTo>
                    <a:pt x="6981" y="2362"/>
                  </a:lnTo>
                  <a:lnTo>
                    <a:pt x="6493" y="3876"/>
                  </a:lnTo>
                  <a:lnTo>
                    <a:pt x="5877" y="4398"/>
                  </a:lnTo>
                  <a:lnTo>
                    <a:pt x="5571" y="4154"/>
                  </a:lnTo>
                  <a:lnTo>
                    <a:pt x="5168" y="4469"/>
                  </a:lnTo>
                  <a:lnTo>
                    <a:pt x="4513" y="8919"/>
                  </a:lnTo>
                  <a:lnTo>
                    <a:pt x="4275" y="10220"/>
                  </a:lnTo>
                  <a:lnTo>
                    <a:pt x="3835" y="10605"/>
                  </a:lnTo>
                  <a:lnTo>
                    <a:pt x="3362" y="10181"/>
                  </a:lnTo>
                  <a:lnTo>
                    <a:pt x="3022" y="10181"/>
                  </a:lnTo>
                  <a:lnTo>
                    <a:pt x="2454" y="10464"/>
                  </a:lnTo>
                  <a:lnTo>
                    <a:pt x="2227" y="10955"/>
                  </a:lnTo>
                  <a:lnTo>
                    <a:pt x="1932" y="11729"/>
                  </a:lnTo>
                  <a:lnTo>
                    <a:pt x="1592" y="12637"/>
                  </a:lnTo>
                  <a:lnTo>
                    <a:pt x="73" y="18463"/>
                  </a:lnTo>
                  <a:lnTo>
                    <a:pt x="0" y="19847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13" name="Shape 613"/>
            <p:cNvSpPr/>
            <p:nvPr/>
          </p:nvSpPr>
          <p:spPr>
            <a:xfrm>
              <a:off x="2043" y="590624"/>
              <a:ext cx="1349305" cy="19356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77" y="21600"/>
                  </a:moveTo>
                  <a:cubicBezTo>
                    <a:pt x="21277" y="21600"/>
                    <a:pt x="5549" y="20459"/>
                    <a:pt x="3142" y="19936"/>
                  </a:cubicBezTo>
                  <a:cubicBezTo>
                    <a:pt x="736" y="19414"/>
                    <a:pt x="0" y="19271"/>
                    <a:pt x="0" y="19271"/>
                  </a:cubicBezTo>
                  <a:cubicBezTo>
                    <a:pt x="0" y="19271"/>
                    <a:pt x="1364" y="18113"/>
                    <a:pt x="1875" y="17839"/>
                  </a:cubicBezTo>
                  <a:cubicBezTo>
                    <a:pt x="2385" y="17566"/>
                    <a:pt x="3763" y="15813"/>
                    <a:pt x="3763" y="15813"/>
                  </a:cubicBezTo>
                  <a:lnTo>
                    <a:pt x="4606" y="13727"/>
                  </a:lnTo>
                  <a:lnTo>
                    <a:pt x="3941" y="13067"/>
                  </a:lnTo>
                  <a:cubicBezTo>
                    <a:pt x="3941" y="13067"/>
                    <a:pt x="2385" y="15349"/>
                    <a:pt x="2177" y="15628"/>
                  </a:cubicBezTo>
                  <a:cubicBezTo>
                    <a:pt x="1968" y="15907"/>
                    <a:pt x="763" y="17185"/>
                    <a:pt x="763" y="17185"/>
                  </a:cubicBezTo>
                  <a:lnTo>
                    <a:pt x="3099" y="12729"/>
                  </a:lnTo>
                  <a:cubicBezTo>
                    <a:pt x="3099" y="12729"/>
                    <a:pt x="3692" y="11345"/>
                    <a:pt x="3799" y="11065"/>
                  </a:cubicBezTo>
                  <a:cubicBezTo>
                    <a:pt x="3905" y="10786"/>
                    <a:pt x="4535" y="9598"/>
                    <a:pt x="4535" y="9598"/>
                  </a:cubicBezTo>
                  <a:lnTo>
                    <a:pt x="5019" y="10014"/>
                  </a:lnTo>
                  <a:lnTo>
                    <a:pt x="5444" y="8927"/>
                  </a:lnTo>
                  <a:lnTo>
                    <a:pt x="6073" y="9444"/>
                  </a:lnTo>
                  <a:lnTo>
                    <a:pt x="6486" y="8641"/>
                  </a:lnTo>
                  <a:lnTo>
                    <a:pt x="6805" y="9866"/>
                  </a:lnTo>
                  <a:cubicBezTo>
                    <a:pt x="6805" y="9866"/>
                    <a:pt x="5710" y="11559"/>
                    <a:pt x="5604" y="11934"/>
                  </a:cubicBezTo>
                  <a:cubicBezTo>
                    <a:pt x="5498" y="12309"/>
                    <a:pt x="5710" y="13575"/>
                    <a:pt x="5710" y="13575"/>
                  </a:cubicBezTo>
                  <a:lnTo>
                    <a:pt x="6588" y="13480"/>
                  </a:lnTo>
                  <a:lnTo>
                    <a:pt x="6783" y="11310"/>
                  </a:lnTo>
                  <a:lnTo>
                    <a:pt x="7762" y="11168"/>
                  </a:lnTo>
                  <a:lnTo>
                    <a:pt x="8676" y="11917"/>
                  </a:lnTo>
                  <a:lnTo>
                    <a:pt x="9101" y="10556"/>
                  </a:lnTo>
                  <a:lnTo>
                    <a:pt x="9341" y="9449"/>
                  </a:lnTo>
                  <a:cubicBezTo>
                    <a:pt x="9341" y="9449"/>
                    <a:pt x="10502" y="9883"/>
                    <a:pt x="10502" y="10156"/>
                  </a:cubicBezTo>
                  <a:cubicBezTo>
                    <a:pt x="10502" y="10430"/>
                    <a:pt x="9119" y="12290"/>
                    <a:pt x="8942" y="12664"/>
                  </a:cubicBezTo>
                  <a:cubicBezTo>
                    <a:pt x="8765" y="13039"/>
                    <a:pt x="8340" y="13752"/>
                    <a:pt x="8340" y="14311"/>
                  </a:cubicBezTo>
                  <a:cubicBezTo>
                    <a:pt x="8340" y="14869"/>
                    <a:pt x="8690" y="15154"/>
                    <a:pt x="8690" y="15154"/>
                  </a:cubicBezTo>
                  <a:lnTo>
                    <a:pt x="9962" y="12706"/>
                  </a:lnTo>
                  <a:lnTo>
                    <a:pt x="10871" y="11951"/>
                  </a:lnTo>
                  <a:cubicBezTo>
                    <a:pt x="10871" y="11951"/>
                    <a:pt x="11261" y="11655"/>
                    <a:pt x="11363" y="11381"/>
                  </a:cubicBezTo>
                  <a:cubicBezTo>
                    <a:pt x="11465" y="11107"/>
                    <a:pt x="12383" y="10067"/>
                    <a:pt x="12383" y="10067"/>
                  </a:cubicBezTo>
                  <a:lnTo>
                    <a:pt x="13513" y="7951"/>
                  </a:lnTo>
                  <a:cubicBezTo>
                    <a:pt x="13513" y="7951"/>
                    <a:pt x="13895" y="7143"/>
                    <a:pt x="13615" y="7143"/>
                  </a:cubicBezTo>
                  <a:cubicBezTo>
                    <a:pt x="13335" y="7143"/>
                    <a:pt x="11780" y="7001"/>
                    <a:pt x="11780" y="7001"/>
                  </a:cubicBezTo>
                  <a:lnTo>
                    <a:pt x="9905" y="6858"/>
                  </a:lnTo>
                  <a:cubicBezTo>
                    <a:pt x="9905" y="6858"/>
                    <a:pt x="10579" y="1214"/>
                    <a:pt x="11177" y="607"/>
                  </a:cubicBezTo>
                  <a:cubicBezTo>
                    <a:pt x="11776" y="0"/>
                    <a:pt x="12051" y="0"/>
                    <a:pt x="12051" y="0"/>
                  </a:cubicBezTo>
                  <a:lnTo>
                    <a:pt x="11838" y="1213"/>
                  </a:lnTo>
                  <a:lnTo>
                    <a:pt x="12259" y="1629"/>
                  </a:lnTo>
                  <a:lnTo>
                    <a:pt x="12751" y="1107"/>
                  </a:lnTo>
                  <a:lnTo>
                    <a:pt x="13177" y="114"/>
                  </a:lnTo>
                  <a:lnTo>
                    <a:pt x="13696" y="399"/>
                  </a:lnTo>
                  <a:lnTo>
                    <a:pt x="14507" y="263"/>
                  </a:lnTo>
                  <a:lnTo>
                    <a:pt x="13881" y="1565"/>
                  </a:lnTo>
                  <a:lnTo>
                    <a:pt x="14369" y="1939"/>
                  </a:lnTo>
                  <a:lnTo>
                    <a:pt x="14157" y="3027"/>
                  </a:lnTo>
                  <a:lnTo>
                    <a:pt x="13452" y="3918"/>
                  </a:lnTo>
                  <a:lnTo>
                    <a:pt x="13554" y="5054"/>
                  </a:lnTo>
                  <a:lnTo>
                    <a:pt x="14073" y="4769"/>
                  </a:lnTo>
                  <a:lnTo>
                    <a:pt x="14774" y="3206"/>
                  </a:lnTo>
                  <a:lnTo>
                    <a:pt x="15053" y="4383"/>
                  </a:lnTo>
                  <a:lnTo>
                    <a:pt x="14521" y="6510"/>
                  </a:lnTo>
                  <a:lnTo>
                    <a:pt x="13435" y="9482"/>
                  </a:lnTo>
                  <a:lnTo>
                    <a:pt x="13151" y="11122"/>
                  </a:lnTo>
                  <a:lnTo>
                    <a:pt x="13045" y="12875"/>
                  </a:lnTo>
                  <a:lnTo>
                    <a:pt x="14774" y="11788"/>
                  </a:lnTo>
                  <a:lnTo>
                    <a:pt x="14774" y="10659"/>
                  </a:lnTo>
                  <a:lnTo>
                    <a:pt x="15341" y="8995"/>
                  </a:lnTo>
                  <a:lnTo>
                    <a:pt x="16041" y="8097"/>
                  </a:lnTo>
                  <a:lnTo>
                    <a:pt x="16321" y="7105"/>
                  </a:lnTo>
                  <a:lnTo>
                    <a:pt x="17451" y="5839"/>
                  </a:lnTo>
                  <a:lnTo>
                    <a:pt x="18404" y="6831"/>
                  </a:lnTo>
                  <a:cubicBezTo>
                    <a:pt x="18404" y="6831"/>
                    <a:pt x="18931" y="8447"/>
                    <a:pt x="18829" y="8864"/>
                  </a:cubicBezTo>
                  <a:cubicBezTo>
                    <a:pt x="18727" y="9280"/>
                    <a:pt x="18231" y="10314"/>
                    <a:pt x="18231" y="10314"/>
                  </a:cubicBezTo>
                  <a:cubicBezTo>
                    <a:pt x="18231" y="10314"/>
                    <a:pt x="18443" y="11544"/>
                    <a:pt x="18443" y="11824"/>
                  </a:cubicBezTo>
                  <a:cubicBezTo>
                    <a:pt x="18443" y="12103"/>
                    <a:pt x="18337" y="13417"/>
                    <a:pt x="18337" y="13417"/>
                  </a:cubicBezTo>
                  <a:lnTo>
                    <a:pt x="18762" y="14451"/>
                  </a:lnTo>
                  <a:lnTo>
                    <a:pt x="19081" y="15824"/>
                  </a:lnTo>
                  <a:lnTo>
                    <a:pt x="19959" y="15729"/>
                  </a:lnTo>
                  <a:lnTo>
                    <a:pt x="19959" y="14505"/>
                  </a:lnTo>
                  <a:cubicBezTo>
                    <a:pt x="19959" y="14505"/>
                    <a:pt x="19006" y="13216"/>
                    <a:pt x="19006" y="12942"/>
                  </a:cubicBezTo>
                  <a:cubicBezTo>
                    <a:pt x="19006" y="12668"/>
                    <a:pt x="19499" y="12383"/>
                    <a:pt x="19499" y="12383"/>
                  </a:cubicBezTo>
                  <a:cubicBezTo>
                    <a:pt x="19499" y="12383"/>
                    <a:pt x="20261" y="11592"/>
                    <a:pt x="19880" y="11497"/>
                  </a:cubicBezTo>
                  <a:cubicBezTo>
                    <a:pt x="19499" y="11402"/>
                    <a:pt x="18789" y="10868"/>
                    <a:pt x="18789" y="10594"/>
                  </a:cubicBezTo>
                  <a:cubicBezTo>
                    <a:pt x="18789" y="10320"/>
                    <a:pt x="19742" y="9755"/>
                    <a:pt x="19742" y="9755"/>
                  </a:cubicBezTo>
                  <a:lnTo>
                    <a:pt x="20682" y="10320"/>
                  </a:lnTo>
                  <a:lnTo>
                    <a:pt x="21139" y="9666"/>
                  </a:lnTo>
                  <a:lnTo>
                    <a:pt x="21210" y="13558"/>
                  </a:lnTo>
                  <a:cubicBezTo>
                    <a:pt x="21210" y="13558"/>
                    <a:pt x="21600" y="16219"/>
                    <a:pt x="21600" y="16499"/>
                  </a:cubicBezTo>
                  <a:cubicBezTo>
                    <a:pt x="21600" y="16778"/>
                    <a:pt x="21600" y="20385"/>
                    <a:pt x="21600" y="20385"/>
                  </a:cubicBezTo>
                  <a:lnTo>
                    <a:pt x="21277" y="2160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14" name="Shape 614"/>
            <p:cNvSpPr/>
            <p:nvPr/>
          </p:nvSpPr>
          <p:spPr>
            <a:xfrm>
              <a:off x="1311933" y="236757"/>
              <a:ext cx="162816" cy="9144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14" y="0"/>
                  </a:moveTo>
                  <a:lnTo>
                    <a:pt x="12196" y="5397"/>
                  </a:lnTo>
                  <a:lnTo>
                    <a:pt x="16312" y="8504"/>
                  </a:lnTo>
                  <a:lnTo>
                    <a:pt x="21600" y="12014"/>
                  </a:lnTo>
                  <a:lnTo>
                    <a:pt x="21600" y="16014"/>
                  </a:lnTo>
                  <a:lnTo>
                    <a:pt x="16312" y="19523"/>
                  </a:lnTo>
                  <a:lnTo>
                    <a:pt x="11644" y="21600"/>
                  </a:lnTo>
                  <a:lnTo>
                    <a:pt x="9037" y="19813"/>
                  </a:lnTo>
                  <a:lnTo>
                    <a:pt x="14289" y="16002"/>
                  </a:lnTo>
                  <a:cubicBezTo>
                    <a:pt x="14289" y="16002"/>
                    <a:pt x="15171" y="13977"/>
                    <a:pt x="15171" y="13386"/>
                  </a:cubicBezTo>
                  <a:cubicBezTo>
                    <a:pt x="15171" y="12795"/>
                    <a:pt x="12563" y="11586"/>
                    <a:pt x="12563" y="10995"/>
                  </a:cubicBezTo>
                  <a:cubicBezTo>
                    <a:pt x="12563" y="10404"/>
                    <a:pt x="4958" y="10493"/>
                    <a:pt x="4958" y="8291"/>
                  </a:cubicBezTo>
                  <a:cubicBezTo>
                    <a:pt x="4958" y="6090"/>
                    <a:pt x="4079" y="4693"/>
                    <a:pt x="4079" y="4693"/>
                  </a:cubicBezTo>
                  <a:lnTo>
                    <a:pt x="0" y="1611"/>
                  </a:lnTo>
                  <a:lnTo>
                    <a:pt x="2314" y="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15" name="Shape 615"/>
            <p:cNvSpPr/>
            <p:nvPr/>
          </p:nvSpPr>
          <p:spPr>
            <a:xfrm>
              <a:off x="1284827" y="743144"/>
              <a:ext cx="88047" cy="42013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28" y="655"/>
                  </a:moveTo>
                  <a:lnTo>
                    <a:pt x="21600" y="0"/>
                  </a:lnTo>
                  <a:lnTo>
                    <a:pt x="21600" y="6954"/>
                  </a:lnTo>
                  <a:lnTo>
                    <a:pt x="13997" y="21600"/>
                  </a:lnTo>
                  <a:lnTo>
                    <a:pt x="0" y="17851"/>
                  </a:lnTo>
                  <a:lnTo>
                    <a:pt x="1626" y="2821"/>
                  </a:lnTo>
                  <a:lnTo>
                    <a:pt x="5366" y="13251"/>
                  </a:lnTo>
                  <a:lnTo>
                    <a:pt x="11210" y="7225"/>
                  </a:lnTo>
                  <a:lnTo>
                    <a:pt x="10928" y="655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16" name="Shape 616"/>
            <p:cNvSpPr/>
            <p:nvPr/>
          </p:nvSpPr>
          <p:spPr>
            <a:xfrm>
              <a:off x="1108907" y="134407"/>
              <a:ext cx="103271" cy="58741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78" y="0"/>
                  </a:moveTo>
                  <a:lnTo>
                    <a:pt x="13893" y="7460"/>
                  </a:lnTo>
                  <a:lnTo>
                    <a:pt x="12501" y="12279"/>
                  </a:lnTo>
                  <a:lnTo>
                    <a:pt x="20266" y="14434"/>
                  </a:lnTo>
                  <a:lnTo>
                    <a:pt x="21600" y="21600"/>
                  </a:lnTo>
                  <a:lnTo>
                    <a:pt x="11412" y="17565"/>
                  </a:lnTo>
                  <a:lnTo>
                    <a:pt x="3075" y="12260"/>
                  </a:lnTo>
                  <a:lnTo>
                    <a:pt x="7243" y="7737"/>
                  </a:lnTo>
                  <a:lnTo>
                    <a:pt x="0" y="4974"/>
                  </a:lnTo>
                  <a:lnTo>
                    <a:pt x="4278" y="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17" name="Shape 617"/>
            <p:cNvSpPr/>
            <p:nvPr/>
          </p:nvSpPr>
          <p:spPr>
            <a:xfrm>
              <a:off x="918164" y="265747"/>
              <a:ext cx="312699" cy="82867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86" y="4859"/>
                  </a:moveTo>
                  <a:lnTo>
                    <a:pt x="6884" y="0"/>
                  </a:lnTo>
                  <a:lnTo>
                    <a:pt x="9755" y="5387"/>
                  </a:lnTo>
                  <a:lnTo>
                    <a:pt x="9295" y="10037"/>
                  </a:lnTo>
                  <a:lnTo>
                    <a:pt x="11895" y="12022"/>
                  </a:lnTo>
                  <a:lnTo>
                    <a:pt x="14136" y="8150"/>
                  </a:lnTo>
                  <a:lnTo>
                    <a:pt x="16394" y="11217"/>
                  </a:lnTo>
                  <a:lnTo>
                    <a:pt x="16394" y="14522"/>
                  </a:lnTo>
                  <a:lnTo>
                    <a:pt x="19361" y="14842"/>
                  </a:lnTo>
                  <a:lnTo>
                    <a:pt x="21600" y="14189"/>
                  </a:lnTo>
                  <a:lnTo>
                    <a:pt x="21600" y="18922"/>
                  </a:lnTo>
                  <a:lnTo>
                    <a:pt x="20666" y="21600"/>
                  </a:lnTo>
                  <a:lnTo>
                    <a:pt x="16571" y="19713"/>
                  </a:lnTo>
                  <a:lnTo>
                    <a:pt x="12764" y="15104"/>
                  </a:lnTo>
                  <a:lnTo>
                    <a:pt x="9032" y="12590"/>
                  </a:lnTo>
                  <a:lnTo>
                    <a:pt x="5856" y="8659"/>
                  </a:lnTo>
                  <a:lnTo>
                    <a:pt x="900" y="7451"/>
                  </a:lnTo>
                  <a:lnTo>
                    <a:pt x="0" y="3691"/>
                  </a:lnTo>
                  <a:lnTo>
                    <a:pt x="2564" y="1065"/>
                  </a:lnTo>
                  <a:lnTo>
                    <a:pt x="5986" y="4859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18" name="Shape 618"/>
            <p:cNvSpPr/>
            <p:nvPr/>
          </p:nvSpPr>
          <p:spPr>
            <a:xfrm>
              <a:off x="939789" y="676682"/>
              <a:ext cx="144578" cy="5198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211" y="2479"/>
                  </a:lnTo>
                  <a:lnTo>
                    <a:pt x="17707" y="8610"/>
                  </a:lnTo>
                  <a:lnTo>
                    <a:pt x="21600" y="13835"/>
                  </a:lnTo>
                  <a:lnTo>
                    <a:pt x="15023" y="16821"/>
                  </a:lnTo>
                  <a:lnTo>
                    <a:pt x="7452" y="21600"/>
                  </a:lnTo>
                  <a:lnTo>
                    <a:pt x="7452" y="15979"/>
                  </a:lnTo>
                  <a:lnTo>
                    <a:pt x="11673" y="13231"/>
                  </a:lnTo>
                  <a:lnTo>
                    <a:pt x="10020" y="6302"/>
                  </a:lnTo>
                  <a:lnTo>
                    <a:pt x="2278" y="38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19" name="Shape 619"/>
            <p:cNvSpPr/>
            <p:nvPr/>
          </p:nvSpPr>
          <p:spPr>
            <a:xfrm>
              <a:off x="1660334" y="504948"/>
              <a:ext cx="107704" cy="45847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24" y="0"/>
                  </a:moveTo>
                  <a:lnTo>
                    <a:pt x="21600" y="9985"/>
                  </a:lnTo>
                  <a:lnTo>
                    <a:pt x="17603" y="21600"/>
                  </a:lnTo>
                  <a:lnTo>
                    <a:pt x="12276" y="12121"/>
                  </a:lnTo>
                  <a:lnTo>
                    <a:pt x="6056" y="20124"/>
                  </a:lnTo>
                  <a:lnTo>
                    <a:pt x="2168" y="16986"/>
                  </a:lnTo>
                  <a:lnTo>
                    <a:pt x="0" y="5371"/>
                  </a:lnTo>
                  <a:lnTo>
                    <a:pt x="7780" y="7554"/>
                  </a:lnTo>
                  <a:lnTo>
                    <a:pt x="1632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20" name="Shape 620"/>
            <p:cNvSpPr/>
            <p:nvPr/>
          </p:nvSpPr>
          <p:spPr>
            <a:xfrm>
              <a:off x="1662701" y="1151875"/>
              <a:ext cx="58673" cy="170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589" h="21600" extrusionOk="0">
                  <a:moveTo>
                    <a:pt x="5796" y="0"/>
                  </a:moveTo>
                  <a:cubicBezTo>
                    <a:pt x="5796" y="0"/>
                    <a:pt x="-4011" y="16745"/>
                    <a:pt x="1889" y="18362"/>
                  </a:cubicBezTo>
                  <a:cubicBezTo>
                    <a:pt x="7790" y="19978"/>
                    <a:pt x="13683" y="21600"/>
                    <a:pt x="13683" y="21600"/>
                  </a:cubicBezTo>
                  <a:lnTo>
                    <a:pt x="17589" y="10931"/>
                  </a:lnTo>
                  <a:lnTo>
                    <a:pt x="5796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21" name="Shape 621"/>
            <p:cNvSpPr/>
            <p:nvPr/>
          </p:nvSpPr>
          <p:spPr>
            <a:xfrm>
              <a:off x="1899684" y="794415"/>
              <a:ext cx="126316" cy="3722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29"/>
                  </a:moveTo>
                  <a:lnTo>
                    <a:pt x="21600" y="21600"/>
                  </a:lnTo>
                  <a:lnTo>
                    <a:pt x="8346" y="0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22" name="Shape 622"/>
            <p:cNvSpPr/>
            <p:nvPr/>
          </p:nvSpPr>
          <p:spPr>
            <a:xfrm>
              <a:off x="2431801" y="1779347"/>
              <a:ext cx="245655" cy="60974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3" y="3264"/>
                  </a:moveTo>
                  <a:lnTo>
                    <a:pt x="6013" y="0"/>
                  </a:lnTo>
                  <a:lnTo>
                    <a:pt x="0" y="0"/>
                  </a:lnTo>
                  <a:lnTo>
                    <a:pt x="0" y="7810"/>
                  </a:lnTo>
                  <a:lnTo>
                    <a:pt x="1168" y="13809"/>
                  </a:lnTo>
                  <a:lnTo>
                    <a:pt x="7525" y="18636"/>
                  </a:lnTo>
                  <a:lnTo>
                    <a:pt x="11302" y="21600"/>
                  </a:lnTo>
                  <a:lnTo>
                    <a:pt x="18336" y="20561"/>
                  </a:lnTo>
                  <a:lnTo>
                    <a:pt x="21015" y="18034"/>
                  </a:lnTo>
                  <a:lnTo>
                    <a:pt x="21600" y="12789"/>
                  </a:lnTo>
                  <a:lnTo>
                    <a:pt x="20042" y="7525"/>
                  </a:lnTo>
                  <a:lnTo>
                    <a:pt x="18312" y="14961"/>
                  </a:lnTo>
                  <a:lnTo>
                    <a:pt x="16754" y="17604"/>
                  </a:lnTo>
                  <a:lnTo>
                    <a:pt x="15587" y="10531"/>
                  </a:lnTo>
                  <a:lnTo>
                    <a:pt x="12734" y="7550"/>
                  </a:lnTo>
                  <a:lnTo>
                    <a:pt x="8086" y="11605"/>
                  </a:lnTo>
                  <a:lnTo>
                    <a:pt x="5967" y="9983"/>
                  </a:lnTo>
                  <a:lnTo>
                    <a:pt x="11543" y="3868"/>
                  </a:lnTo>
                  <a:lnTo>
                    <a:pt x="8498" y="1944"/>
                  </a:lnTo>
                  <a:lnTo>
                    <a:pt x="6013" y="3264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23" name="Shape 623"/>
            <p:cNvSpPr/>
            <p:nvPr/>
          </p:nvSpPr>
          <p:spPr>
            <a:xfrm>
              <a:off x="2639014" y="1791949"/>
              <a:ext cx="133490" cy="553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780" y="7588"/>
                  </a:lnTo>
                  <a:lnTo>
                    <a:pt x="12856" y="15861"/>
                  </a:lnTo>
                  <a:lnTo>
                    <a:pt x="13888" y="21102"/>
                  </a:lnTo>
                  <a:lnTo>
                    <a:pt x="20524" y="21600"/>
                  </a:lnTo>
                  <a:cubicBezTo>
                    <a:pt x="20524" y="21600"/>
                    <a:pt x="21600" y="15450"/>
                    <a:pt x="21600" y="13993"/>
                  </a:cubicBezTo>
                  <a:cubicBezTo>
                    <a:pt x="21600" y="12536"/>
                    <a:pt x="21600" y="6404"/>
                    <a:pt x="21600" y="6404"/>
                  </a:cubicBezTo>
                  <a:lnTo>
                    <a:pt x="15150" y="3432"/>
                  </a:lnTo>
                  <a:lnTo>
                    <a:pt x="8829" y="24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24" name="Shape 624"/>
            <p:cNvSpPr/>
            <p:nvPr/>
          </p:nvSpPr>
          <p:spPr>
            <a:xfrm>
              <a:off x="1796391" y="595607"/>
              <a:ext cx="86204" cy="51228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94" y="0"/>
                  </a:moveTo>
                  <a:lnTo>
                    <a:pt x="0" y="15424"/>
                  </a:lnTo>
                  <a:lnTo>
                    <a:pt x="10769" y="16501"/>
                  </a:lnTo>
                  <a:lnTo>
                    <a:pt x="10144" y="21600"/>
                  </a:lnTo>
                  <a:lnTo>
                    <a:pt x="21600" y="20523"/>
                  </a:lnTo>
                  <a:lnTo>
                    <a:pt x="10925" y="9411"/>
                  </a:lnTo>
                  <a:lnTo>
                    <a:pt x="499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</p:grpSp>
      <p:grpSp>
        <p:nvGrpSpPr>
          <p:cNvPr id="639" name="Group 63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372411" y="2819399"/>
            <a:ext cx="4775201" cy="3246200"/>
            <a:chOff x="0" y="0"/>
            <a:chExt cx="9550400" cy="6492399"/>
          </a:xfrm>
        </p:grpSpPr>
        <p:sp>
          <p:nvSpPr>
            <p:cNvPr id="626" name="Shape 626"/>
            <p:cNvSpPr/>
            <p:nvPr/>
          </p:nvSpPr>
          <p:spPr>
            <a:xfrm rot="10800000" flipH="1">
              <a:off x="0" y="0"/>
              <a:ext cx="9550400" cy="6492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505" extrusionOk="0">
                  <a:moveTo>
                    <a:pt x="0" y="19744"/>
                  </a:moveTo>
                  <a:lnTo>
                    <a:pt x="1796" y="20273"/>
                  </a:lnTo>
                  <a:cubicBezTo>
                    <a:pt x="1796" y="20273"/>
                    <a:pt x="3515" y="20562"/>
                    <a:pt x="3610" y="20664"/>
                  </a:cubicBezTo>
                  <a:cubicBezTo>
                    <a:pt x="3704" y="20767"/>
                    <a:pt x="5402" y="20873"/>
                    <a:pt x="5402" y="20873"/>
                  </a:cubicBezTo>
                  <a:cubicBezTo>
                    <a:pt x="5402" y="20873"/>
                    <a:pt x="6612" y="20980"/>
                    <a:pt x="6708" y="20980"/>
                  </a:cubicBezTo>
                  <a:cubicBezTo>
                    <a:pt x="6804" y="20980"/>
                    <a:pt x="8782" y="21122"/>
                    <a:pt x="8782" y="21122"/>
                  </a:cubicBezTo>
                  <a:lnTo>
                    <a:pt x="9857" y="21434"/>
                  </a:lnTo>
                  <a:lnTo>
                    <a:pt x="10574" y="21505"/>
                  </a:lnTo>
                  <a:lnTo>
                    <a:pt x="14169" y="21260"/>
                  </a:lnTo>
                  <a:lnTo>
                    <a:pt x="15332" y="21047"/>
                  </a:lnTo>
                  <a:cubicBezTo>
                    <a:pt x="15332" y="21047"/>
                    <a:pt x="16084" y="20834"/>
                    <a:pt x="16213" y="20834"/>
                  </a:cubicBezTo>
                  <a:cubicBezTo>
                    <a:pt x="16342" y="20834"/>
                    <a:pt x="17466" y="20834"/>
                    <a:pt x="17466" y="20834"/>
                  </a:cubicBezTo>
                  <a:cubicBezTo>
                    <a:pt x="17466" y="20834"/>
                    <a:pt x="18449" y="20936"/>
                    <a:pt x="18578" y="20834"/>
                  </a:cubicBezTo>
                  <a:cubicBezTo>
                    <a:pt x="18707" y="20731"/>
                    <a:pt x="19606" y="20727"/>
                    <a:pt x="19688" y="20624"/>
                  </a:cubicBezTo>
                  <a:cubicBezTo>
                    <a:pt x="19769" y="20522"/>
                    <a:pt x="20916" y="20451"/>
                    <a:pt x="20916" y="20451"/>
                  </a:cubicBezTo>
                  <a:lnTo>
                    <a:pt x="21600" y="20131"/>
                  </a:lnTo>
                  <a:lnTo>
                    <a:pt x="21354" y="18045"/>
                  </a:lnTo>
                  <a:cubicBezTo>
                    <a:pt x="21354" y="18045"/>
                    <a:pt x="21434" y="16726"/>
                    <a:pt x="21340" y="16036"/>
                  </a:cubicBezTo>
                  <a:cubicBezTo>
                    <a:pt x="21246" y="15347"/>
                    <a:pt x="21340" y="14858"/>
                    <a:pt x="21340" y="14858"/>
                  </a:cubicBezTo>
                  <a:lnTo>
                    <a:pt x="20909" y="13807"/>
                  </a:lnTo>
                  <a:lnTo>
                    <a:pt x="20392" y="13470"/>
                  </a:lnTo>
                  <a:lnTo>
                    <a:pt x="19789" y="12545"/>
                  </a:lnTo>
                  <a:lnTo>
                    <a:pt x="19301" y="12515"/>
                  </a:lnTo>
                  <a:lnTo>
                    <a:pt x="18812" y="11157"/>
                  </a:lnTo>
                  <a:lnTo>
                    <a:pt x="18554" y="10063"/>
                  </a:lnTo>
                  <a:lnTo>
                    <a:pt x="17865" y="8927"/>
                  </a:lnTo>
                  <a:lnTo>
                    <a:pt x="17146" y="8464"/>
                  </a:lnTo>
                  <a:lnTo>
                    <a:pt x="16629" y="7160"/>
                  </a:lnTo>
                  <a:lnTo>
                    <a:pt x="15883" y="6193"/>
                  </a:lnTo>
                  <a:lnTo>
                    <a:pt x="15538" y="4931"/>
                  </a:lnTo>
                  <a:lnTo>
                    <a:pt x="14002" y="6188"/>
                  </a:lnTo>
                  <a:lnTo>
                    <a:pt x="13662" y="4645"/>
                  </a:lnTo>
                  <a:lnTo>
                    <a:pt x="12858" y="3658"/>
                  </a:lnTo>
                  <a:lnTo>
                    <a:pt x="12275" y="4574"/>
                  </a:lnTo>
                  <a:lnTo>
                    <a:pt x="12235" y="2925"/>
                  </a:lnTo>
                  <a:lnTo>
                    <a:pt x="11740" y="2196"/>
                  </a:lnTo>
                  <a:lnTo>
                    <a:pt x="11151" y="934"/>
                  </a:lnTo>
                  <a:lnTo>
                    <a:pt x="10315" y="541"/>
                  </a:lnTo>
                  <a:lnTo>
                    <a:pt x="9851" y="556"/>
                  </a:lnTo>
                  <a:cubicBezTo>
                    <a:pt x="9851" y="556"/>
                    <a:pt x="9090" y="-95"/>
                    <a:pt x="9008" y="12"/>
                  </a:cubicBezTo>
                  <a:cubicBezTo>
                    <a:pt x="8926" y="119"/>
                    <a:pt x="8603" y="612"/>
                    <a:pt x="8603" y="612"/>
                  </a:cubicBezTo>
                  <a:lnTo>
                    <a:pt x="7955" y="51"/>
                  </a:lnTo>
                  <a:lnTo>
                    <a:pt x="6921" y="934"/>
                  </a:lnTo>
                  <a:lnTo>
                    <a:pt x="6394" y="1650"/>
                  </a:lnTo>
                  <a:lnTo>
                    <a:pt x="6187" y="2196"/>
                  </a:lnTo>
                  <a:lnTo>
                    <a:pt x="5399" y="2491"/>
                  </a:lnTo>
                  <a:lnTo>
                    <a:pt x="5168" y="4290"/>
                  </a:lnTo>
                  <a:lnTo>
                    <a:pt x="4129" y="6361"/>
                  </a:lnTo>
                  <a:lnTo>
                    <a:pt x="3589" y="7960"/>
                  </a:lnTo>
                  <a:lnTo>
                    <a:pt x="3589" y="9095"/>
                  </a:lnTo>
                  <a:lnTo>
                    <a:pt x="3362" y="10029"/>
                  </a:lnTo>
                  <a:lnTo>
                    <a:pt x="3022" y="10029"/>
                  </a:lnTo>
                  <a:lnTo>
                    <a:pt x="2454" y="10314"/>
                  </a:lnTo>
                  <a:lnTo>
                    <a:pt x="1779" y="10904"/>
                  </a:lnTo>
                  <a:lnTo>
                    <a:pt x="1111" y="11703"/>
                  </a:lnTo>
                  <a:lnTo>
                    <a:pt x="386" y="13807"/>
                  </a:lnTo>
                  <a:lnTo>
                    <a:pt x="73" y="18353"/>
                  </a:lnTo>
                  <a:lnTo>
                    <a:pt x="0" y="19744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27" name="Shape 627"/>
            <p:cNvSpPr/>
            <p:nvPr/>
          </p:nvSpPr>
          <p:spPr>
            <a:xfrm rot="10800000" flipH="1">
              <a:off x="6680" y="185166"/>
              <a:ext cx="4412215" cy="48792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77" y="21600"/>
                  </a:moveTo>
                  <a:cubicBezTo>
                    <a:pt x="21277" y="21600"/>
                    <a:pt x="5549" y="20459"/>
                    <a:pt x="3142" y="19937"/>
                  </a:cubicBezTo>
                  <a:cubicBezTo>
                    <a:pt x="736" y="19414"/>
                    <a:pt x="0" y="19271"/>
                    <a:pt x="0" y="19271"/>
                  </a:cubicBezTo>
                  <a:cubicBezTo>
                    <a:pt x="0" y="19271"/>
                    <a:pt x="1364" y="18113"/>
                    <a:pt x="1875" y="17839"/>
                  </a:cubicBezTo>
                  <a:cubicBezTo>
                    <a:pt x="2385" y="17566"/>
                    <a:pt x="3763" y="15813"/>
                    <a:pt x="3763" y="15813"/>
                  </a:cubicBezTo>
                  <a:lnTo>
                    <a:pt x="4606" y="13727"/>
                  </a:lnTo>
                  <a:lnTo>
                    <a:pt x="3941" y="13067"/>
                  </a:lnTo>
                  <a:cubicBezTo>
                    <a:pt x="3941" y="13067"/>
                    <a:pt x="2385" y="15349"/>
                    <a:pt x="2177" y="15628"/>
                  </a:cubicBezTo>
                  <a:cubicBezTo>
                    <a:pt x="1968" y="15907"/>
                    <a:pt x="763" y="17185"/>
                    <a:pt x="763" y="17185"/>
                  </a:cubicBezTo>
                  <a:lnTo>
                    <a:pt x="3099" y="12729"/>
                  </a:lnTo>
                  <a:cubicBezTo>
                    <a:pt x="3099" y="12729"/>
                    <a:pt x="3692" y="11345"/>
                    <a:pt x="3799" y="11066"/>
                  </a:cubicBezTo>
                  <a:cubicBezTo>
                    <a:pt x="3905" y="10786"/>
                    <a:pt x="4535" y="9598"/>
                    <a:pt x="4535" y="9598"/>
                  </a:cubicBezTo>
                  <a:lnTo>
                    <a:pt x="5019" y="10014"/>
                  </a:lnTo>
                  <a:lnTo>
                    <a:pt x="5444" y="8927"/>
                  </a:lnTo>
                  <a:lnTo>
                    <a:pt x="6073" y="9444"/>
                  </a:lnTo>
                  <a:lnTo>
                    <a:pt x="6486" y="8641"/>
                  </a:lnTo>
                  <a:lnTo>
                    <a:pt x="6805" y="9866"/>
                  </a:lnTo>
                  <a:cubicBezTo>
                    <a:pt x="6805" y="9866"/>
                    <a:pt x="5710" y="11559"/>
                    <a:pt x="5604" y="11934"/>
                  </a:cubicBezTo>
                  <a:cubicBezTo>
                    <a:pt x="5498" y="12309"/>
                    <a:pt x="5710" y="13575"/>
                    <a:pt x="5710" y="13575"/>
                  </a:cubicBezTo>
                  <a:lnTo>
                    <a:pt x="6588" y="13480"/>
                  </a:lnTo>
                  <a:lnTo>
                    <a:pt x="6783" y="11310"/>
                  </a:lnTo>
                  <a:lnTo>
                    <a:pt x="7762" y="11168"/>
                  </a:lnTo>
                  <a:lnTo>
                    <a:pt x="8676" y="11917"/>
                  </a:lnTo>
                  <a:lnTo>
                    <a:pt x="9101" y="10556"/>
                  </a:lnTo>
                  <a:lnTo>
                    <a:pt x="9341" y="9449"/>
                  </a:lnTo>
                  <a:cubicBezTo>
                    <a:pt x="9341" y="9449"/>
                    <a:pt x="10502" y="9883"/>
                    <a:pt x="10502" y="10156"/>
                  </a:cubicBezTo>
                  <a:cubicBezTo>
                    <a:pt x="10502" y="10430"/>
                    <a:pt x="9119" y="12290"/>
                    <a:pt x="8942" y="12664"/>
                  </a:cubicBezTo>
                  <a:cubicBezTo>
                    <a:pt x="8765" y="13039"/>
                    <a:pt x="8340" y="13752"/>
                    <a:pt x="8340" y="14311"/>
                  </a:cubicBezTo>
                  <a:cubicBezTo>
                    <a:pt x="8340" y="14870"/>
                    <a:pt x="8690" y="15154"/>
                    <a:pt x="8690" y="15154"/>
                  </a:cubicBezTo>
                  <a:lnTo>
                    <a:pt x="9962" y="12706"/>
                  </a:lnTo>
                  <a:lnTo>
                    <a:pt x="10871" y="11951"/>
                  </a:lnTo>
                  <a:cubicBezTo>
                    <a:pt x="10871" y="11951"/>
                    <a:pt x="11261" y="11655"/>
                    <a:pt x="11363" y="11381"/>
                  </a:cubicBezTo>
                  <a:cubicBezTo>
                    <a:pt x="11465" y="11107"/>
                    <a:pt x="12383" y="10067"/>
                    <a:pt x="12383" y="10067"/>
                  </a:cubicBezTo>
                  <a:lnTo>
                    <a:pt x="13513" y="7951"/>
                  </a:lnTo>
                  <a:cubicBezTo>
                    <a:pt x="13513" y="7951"/>
                    <a:pt x="13895" y="7143"/>
                    <a:pt x="13615" y="7143"/>
                  </a:cubicBezTo>
                  <a:cubicBezTo>
                    <a:pt x="13335" y="7143"/>
                    <a:pt x="11780" y="7001"/>
                    <a:pt x="11780" y="7001"/>
                  </a:cubicBezTo>
                  <a:lnTo>
                    <a:pt x="9905" y="6858"/>
                  </a:lnTo>
                  <a:cubicBezTo>
                    <a:pt x="9905" y="6858"/>
                    <a:pt x="10579" y="1214"/>
                    <a:pt x="11177" y="607"/>
                  </a:cubicBezTo>
                  <a:cubicBezTo>
                    <a:pt x="11776" y="0"/>
                    <a:pt x="12051" y="0"/>
                    <a:pt x="12051" y="0"/>
                  </a:cubicBezTo>
                  <a:lnTo>
                    <a:pt x="11838" y="1213"/>
                  </a:lnTo>
                  <a:lnTo>
                    <a:pt x="12259" y="1629"/>
                  </a:lnTo>
                  <a:lnTo>
                    <a:pt x="12751" y="1107"/>
                  </a:lnTo>
                  <a:lnTo>
                    <a:pt x="13177" y="114"/>
                  </a:lnTo>
                  <a:lnTo>
                    <a:pt x="13696" y="399"/>
                  </a:lnTo>
                  <a:lnTo>
                    <a:pt x="14507" y="263"/>
                  </a:lnTo>
                  <a:lnTo>
                    <a:pt x="13881" y="1565"/>
                  </a:lnTo>
                  <a:lnTo>
                    <a:pt x="14369" y="1939"/>
                  </a:lnTo>
                  <a:lnTo>
                    <a:pt x="14157" y="3027"/>
                  </a:lnTo>
                  <a:lnTo>
                    <a:pt x="13452" y="3918"/>
                  </a:lnTo>
                  <a:lnTo>
                    <a:pt x="13554" y="5054"/>
                  </a:lnTo>
                  <a:lnTo>
                    <a:pt x="14073" y="4769"/>
                  </a:lnTo>
                  <a:lnTo>
                    <a:pt x="14774" y="3206"/>
                  </a:lnTo>
                  <a:lnTo>
                    <a:pt x="15053" y="4383"/>
                  </a:lnTo>
                  <a:lnTo>
                    <a:pt x="14521" y="6510"/>
                  </a:lnTo>
                  <a:lnTo>
                    <a:pt x="13435" y="9482"/>
                  </a:lnTo>
                  <a:lnTo>
                    <a:pt x="13151" y="11122"/>
                  </a:lnTo>
                  <a:lnTo>
                    <a:pt x="13045" y="12875"/>
                  </a:lnTo>
                  <a:lnTo>
                    <a:pt x="14774" y="11788"/>
                  </a:lnTo>
                  <a:lnTo>
                    <a:pt x="14774" y="10659"/>
                  </a:lnTo>
                  <a:lnTo>
                    <a:pt x="15341" y="8995"/>
                  </a:lnTo>
                  <a:lnTo>
                    <a:pt x="16041" y="8097"/>
                  </a:lnTo>
                  <a:lnTo>
                    <a:pt x="16321" y="7105"/>
                  </a:lnTo>
                  <a:lnTo>
                    <a:pt x="17451" y="5839"/>
                  </a:lnTo>
                  <a:lnTo>
                    <a:pt x="18404" y="6831"/>
                  </a:lnTo>
                  <a:cubicBezTo>
                    <a:pt x="18404" y="6831"/>
                    <a:pt x="18931" y="8447"/>
                    <a:pt x="18829" y="8864"/>
                  </a:cubicBezTo>
                  <a:cubicBezTo>
                    <a:pt x="18727" y="9280"/>
                    <a:pt x="18231" y="10314"/>
                    <a:pt x="18231" y="10314"/>
                  </a:cubicBezTo>
                  <a:cubicBezTo>
                    <a:pt x="18231" y="10314"/>
                    <a:pt x="18443" y="11544"/>
                    <a:pt x="18443" y="11824"/>
                  </a:cubicBezTo>
                  <a:cubicBezTo>
                    <a:pt x="18443" y="12103"/>
                    <a:pt x="18337" y="13417"/>
                    <a:pt x="18337" y="13417"/>
                  </a:cubicBezTo>
                  <a:lnTo>
                    <a:pt x="18762" y="14451"/>
                  </a:lnTo>
                  <a:lnTo>
                    <a:pt x="19081" y="15824"/>
                  </a:lnTo>
                  <a:lnTo>
                    <a:pt x="19959" y="15729"/>
                  </a:lnTo>
                  <a:lnTo>
                    <a:pt x="19959" y="14505"/>
                  </a:lnTo>
                  <a:cubicBezTo>
                    <a:pt x="19959" y="14505"/>
                    <a:pt x="19006" y="13216"/>
                    <a:pt x="19006" y="12942"/>
                  </a:cubicBezTo>
                  <a:cubicBezTo>
                    <a:pt x="19006" y="12668"/>
                    <a:pt x="19499" y="12383"/>
                    <a:pt x="19499" y="12383"/>
                  </a:cubicBezTo>
                  <a:cubicBezTo>
                    <a:pt x="19499" y="12383"/>
                    <a:pt x="20261" y="11592"/>
                    <a:pt x="19880" y="11497"/>
                  </a:cubicBezTo>
                  <a:cubicBezTo>
                    <a:pt x="19499" y="11402"/>
                    <a:pt x="18789" y="10868"/>
                    <a:pt x="18789" y="10594"/>
                  </a:cubicBezTo>
                  <a:cubicBezTo>
                    <a:pt x="18789" y="10320"/>
                    <a:pt x="19742" y="9755"/>
                    <a:pt x="19742" y="9755"/>
                  </a:cubicBezTo>
                  <a:lnTo>
                    <a:pt x="20682" y="10320"/>
                  </a:lnTo>
                  <a:lnTo>
                    <a:pt x="21139" y="9666"/>
                  </a:lnTo>
                  <a:lnTo>
                    <a:pt x="21210" y="13558"/>
                  </a:lnTo>
                  <a:cubicBezTo>
                    <a:pt x="21210" y="13558"/>
                    <a:pt x="21600" y="16219"/>
                    <a:pt x="21600" y="16499"/>
                  </a:cubicBezTo>
                  <a:cubicBezTo>
                    <a:pt x="21600" y="16778"/>
                    <a:pt x="21600" y="20385"/>
                    <a:pt x="21600" y="20385"/>
                  </a:cubicBezTo>
                  <a:lnTo>
                    <a:pt x="21277" y="21600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28" name="Shape 628"/>
            <p:cNvSpPr/>
            <p:nvPr/>
          </p:nvSpPr>
          <p:spPr>
            <a:xfrm rot="10800000" flipH="1">
              <a:off x="4290009" y="3651402"/>
              <a:ext cx="532403" cy="230498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14" y="0"/>
                  </a:moveTo>
                  <a:lnTo>
                    <a:pt x="12196" y="5397"/>
                  </a:lnTo>
                  <a:lnTo>
                    <a:pt x="16312" y="8504"/>
                  </a:lnTo>
                  <a:lnTo>
                    <a:pt x="21600" y="12014"/>
                  </a:lnTo>
                  <a:lnTo>
                    <a:pt x="21600" y="16014"/>
                  </a:lnTo>
                  <a:lnTo>
                    <a:pt x="16312" y="19523"/>
                  </a:lnTo>
                  <a:lnTo>
                    <a:pt x="11644" y="21600"/>
                  </a:lnTo>
                  <a:lnTo>
                    <a:pt x="9037" y="19813"/>
                  </a:lnTo>
                  <a:lnTo>
                    <a:pt x="14289" y="16002"/>
                  </a:lnTo>
                  <a:cubicBezTo>
                    <a:pt x="14289" y="16002"/>
                    <a:pt x="15171" y="13977"/>
                    <a:pt x="15171" y="13386"/>
                  </a:cubicBezTo>
                  <a:cubicBezTo>
                    <a:pt x="15171" y="12795"/>
                    <a:pt x="12563" y="11586"/>
                    <a:pt x="12563" y="10995"/>
                  </a:cubicBezTo>
                  <a:cubicBezTo>
                    <a:pt x="12563" y="10404"/>
                    <a:pt x="4958" y="10493"/>
                    <a:pt x="4958" y="8291"/>
                  </a:cubicBezTo>
                  <a:cubicBezTo>
                    <a:pt x="4958" y="6090"/>
                    <a:pt x="4079" y="4693"/>
                    <a:pt x="4079" y="4693"/>
                  </a:cubicBezTo>
                  <a:lnTo>
                    <a:pt x="0" y="1611"/>
                  </a:lnTo>
                  <a:lnTo>
                    <a:pt x="2314" y="0"/>
                  </a:lnTo>
                  <a:close/>
                </a:path>
              </a:pathLst>
            </a:custGeom>
            <a:solidFill>
              <a:schemeClr val="accent3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29" name="Shape 629"/>
            <p:cNvSpPr/>
            <p:nvPr/>
          </p:nvSpPr>
          <p:spPr>
            <a:xfrm rot="10800000" flipH="1">
              <a:off x="4201369" y="3620844"/>
              <a:ext cx="287914" cy="105906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28" y="655"/>
                  </a:moveTo>
                  <a:lnTo>
                    <a:pt x="21600" y="0"/>
                  </a:lnTo>
                  <a:lnTo>
                    <a:pt x="21600" y="6954"/>
                  </a:lnTo>
                  <a:lnTo>
                    <a:pt x="13997" y="21600"/>
                  </a:lnTo>
                  <a:lnTo>
                    <a:pt x="0" y="17851"/>
                  </a:lnTo>
                  <a:lnTo>
                    <a:pt x="1626" y="2821"/>
                  </a:lnTo>
                  <a:lnTo>
                    <a:pt x="5366" y="13251"/>
                  </a:lnTo>
                  <a:lnTo>
                    <a:pt x="11210" y="7225"/>
                  </a:lnTo>
                  <a:lnTo>
                    <a:pt x="10928" y="655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30" name="Shape 630"/>
            <p:cNvSpPr/>
            <p:nvPr/>
          </p:nvSpPr>
          <p:spPr>
            <a:xfrm rot="10800000" flipH="1">
              <a:off x="3626118" y="4733659"/>
              <a:ext cx="337691" cy="14807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78" y="0"/>
                  </a:moveTo>
                  <a:lnTo>
                    <a:pt x="13893" y="7460"/>
                  </a:lnTo>
                  <a:lnTo>
                    <a:pt x="12501" y="12279"/>
                  </a:lnTo>
                  <a:lnTo>
                    <a:pt x="20266" y="14434"/>
                  </a:lnTo>
                  <a:lnTo>
                    <a:pt x="21600" y="21600"/>
                  </a:lnTo>
                  <a:lnTo>
                    <a:pt x="11412" y="17565"/>
                  </a:lnTo>
                  <a:lnTo>
                    <a:pt x="3075" y="12260"/>
                  </a:lnTo>
                  <a:lnTo>
                    <a:pt x="7243" y="7737"/>
                  </a:lnTo>
                  <a:lnTo>
                    <a:pt x="0" y="4974"/>
                  </a:lnTo>
                  <a:lnTo>
                    <a:pt x="4278" y="0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31" name="Shape 631"/>
            <p:cNvSpPr/>
            <p:nvPr/>
          </p:nvSpPr>
          <p:spPr>
            <a:xfrm rot="10800000" flipH="1">
              <a:off x="3002388" y="3794415"/>
              <a:ext cx="1022522" cy="20888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86" y="4859"/>
                  </a:moveTo>
                  <a:lnTo>
                    <a:pt x="6884" y="0"/>
                  </a:lnTo>
                  <a:lnTo>
                    <a:pt x="9754" y="5387"/>
                  </a:lnTo>
                  <a:lnTo>
                    <a:pt x="9295" y="10037"/>
                  </a:lnTo>
                  <a:lnTo>
                    <a:pt x="11895" y="12022"/>
                  </a:lnTo>
                  <a:lnTo>
                    <a:pt x="14136" y="8150"/>
                  </a:lnTo>
                  <a:lnTo>
                    <a:pt x="16394" y="11217"/>
                  </a:lnTo>
                  <a:lnTo>
                    <a:pt x="16394" y="14522"/>
                  </a:lnTo>
                  <a:lnTo>
                    <a:pt x="19361" y="14842"/>
                  </a:lnTo>
                  <a:lnTo>
                    <a:pt x="21600" y="14189"/>
                  </a:lnTo>
                  <a:lnTo>
                    <a:pt x="21600" y="18922"/>
                  </a:lnTo>
                  <a:lnTo>
                    <a:pt x="20665" y="21600"/>
                  </a:lnTo>
                  <a:lnTo>
                    <a:pt x="16571" y="19713"/>
                  </a:lnTo>
                  <a:lnTo>
                    <a:pt x="12764" y="15104"/>
                  </a:lnTo>
                  <a:lnTo>
                    <a:pt x="9032" y="12590"/>
                  </a:lnTo>
                  <a:lnTo>
                    <a:pt x="5856" y="8659"/>
                  </a:lnTo>
                  <a:lnTo>
                    <a:pt x="900" y="7451"/>
                  </a:lnTo>
                  <a:lnTo>
                    <a:pt x="0" y="3691"/>
                  </a:lnTo>
                  <a:lnTo>
                    <a:pt x="2564" y="1065"/>
                  </a:lnTo>
                  <a:lnTo>
                    <a:pt x="5986" y="4859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32" name="Shape 632"/>
            <p:cNvSpPr/>
            <p:nvPr/>
          </p:nvSpPr>
          <p:spPr>
            <a:xfrm rot="10800000" flipH="1">
              <a:off x="3073103" y="3537139"/>
              <a:ext cx="472768" cy="13103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211" y="2479"/>
                  </a:lnTo>
                  <a:lnTo>
                    <a:pt x="17707" y="8610"/>
                  </a:lnTo>
                  <a:lnTo>
                    <a:pt x="21600" y="13835"/>
                  </a:lnTo>
                  <a:lnTo>
                    <a:pt x="15023" y="16821"/>
                  </a:lnTo>
                  <a:lnTo>
                    <a:pt x="7452" y="21600"/>
                  </a:lnTo>
                  <a:lnTo>
                    <a:pt x="7452" y="15979"/>
                  </a:lnTo>
                  <a:lnTo>
                    <a:pt x="11673" y="13231"/>
                  </a:lnTo>
                  <a:lnTo>
                    <a:pt x="10020" y="6302"/>
                  </a:lnTo>
                  <a:lnTo>
                    <a:pt x="2278" y="38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33" name="Shape 633"/>
            <p:cNvSpPr/>
            <p:nvPr/>
          </p:nvSpPr>
          <p:spPr>
            <a:xfrm rot="10800000" flipH="1">
              <a:off x="5429276" y="4124649"/>
              <a:ext cx="352191" cy="115569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24" y="0"/>
                  </a:moveTo>
                  <a:lnTo>
                    <a:pt x="21600" y="9985"/>
                  </a:lnTo>
                  <a:lnTo>
                    <a:pt x="17603" y="21600"/>
                  </a:lnTo>
                  <a:lnTo>
                    <a:pt x="12276" y="12121"/>
                  </a:lnTo>
                  <a:lnTo>
                    <a:pt x="6056" y="20124"/>
                  </a:lnTo>
                  <a:lnTo>
                    <a:pt x="2169" y="16986"/>
                  </a:lnTo>
                  <a:lnTo>
                    <a:pt x="0" y="5371"/>
                  </a:lnTo>
                  <a:lnTo>
                    <a:pt x="7780" y="7554"/>
                  </a:lnTo>
                  <a:lnTo>
                    <a:pt x="16324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34" name="Shape 634"/>
            <p:cNvSpPr/>
            <p:nvPr/>
          </p:nvSpPr>
          <p:spPr>
            <a:xfrm rot="10800000" flipH="1">
              <a:off x="5437021" y="3220192"/>
              <a:ext cx="191857" cy="4294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589" h="21600" extrusionOk="0">
                  <a:moveTo>
                    <a:pt x="5796" y="0"/>
                  </a:moveTo>
                  <a:cubicBezTo>
                    <a:pt x="5796" y="0"/>
                    <a:pt x="-4011" y="16745"/>
                    <a:pt x="1889" y="18362"/>
                  </a:cubicBezTo>
                  <a:cubicBezTo>
                    <a:pt x="7790" y="19978"/>
                    <a:pt x="13683" y="21600"/>
                    <a:pt x="13683" y="21600"/>
                  </a:cubicBezTo>
                  <a:lnTo>
                    <a:pt x="17589" y="10931"/>
                  </a:lnTo>
                  <a:lnTo>
                    <a:pt x="5796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35" name="Shape 635"/>
            <p:cNvSpPr/>
            <p:nvPr/>
          </p:nvSpPr>
          <p:spPr>
            <a:xfrm rot="10800000" flipH="1">
              <a:off x="6211951" y="3612268"/>
              <a:ext cx="413050" cy="93839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29"/>
                  </a:moveTo>
                  <a:lnTo>
                    <a:pt x="21600" y="21600"/>
                  </a:lnTo>
                  <a:lnTo>
                    <a:pt x="8346" y="0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36" name="Shape 636"/>
            <p:cNvSpPr/>
            <p:nvPr/>
          </p:nvSpPr>
          <p:spPr>
            <a:xfrm rot="10800000" flipH="1">
              <a:off x="7951971" y="530860"/>
              <a:ext cx="803287" cy="153702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3" y="3264"/>
                  </a:moveTo>
                  <a:lnTo>
                    <a:pt x="6013" y="0"/>
                  </a:lnTo>
                  <a:lnTo>
                    <a:pt x="0" y="0"/>
                  </a:lnTo>
                  <a:lnTo>
                    <a:pt x="0" y="7810"/>
                  </a:lnTo>
                  <a:lnTo>
                    <a:pt x="1168" y="13809"/>
                  </a:lnTo>
                  <a:lnTo>
                    <a:pt x="7525" y="18636"/>
                  </a:lnTo>
                  <a:lnTo>
                    <a:pt x="11302" y="21600"/>
                  </a:lnTo>
                  <a:lnTo>
                    <a:pt x="18336" y="20561"/>
                  </a:lnTo>
                  <a:lnTo>
                    <a:pt x="21015" y="18034"/>
                  </a:lnTo>
                  <a:lnTo>
                    <a:pt x="21600" y="12789"/>
                  </a:lnTo>
                  <a:lnTo>
                    <a:pt x="20042" y="7525"/>
                  </a:lnTo>
                  <a:lnTo>
                    <a:pt x="18312" y="14961"/>
                  </a:lnTo>
                  <a:lnTo>
                    <a:pt x="16754" y="17604"/>
                  </a:lnTo>
                  <a:lnTo>
                    <a:pt x="15587" y="10531"/>
                  </a:lnTo>
                  <a:lnTo>
                    <a:pt x="12734" y="7550"/>
                  </a:lnTo>
                  <a:lnTo>
                    <a:pt x="8086" y="11605"/>
                  </a:lnTo>
                  <a:lnTo>
                    <a:pt x="5967" y="9983"/>
                  </a:lnTo>
                  <a:lnTo>
                    <a:pt x="11543" y="3868"/>
                  </a:lnTo>
                  <a:lnTo>
                    <a:pt x="8498" y="1944"/>
                  </a:lnTo>
                  <a:lnTo>
                    <a:pt x="6013" y="3264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37" name="Shape 637"/>
            <p:cNvSpPr/>
            <p:nvPr/>
          </p:nvSpPr>
          <p:spPr>
            <a:xfrm rot="10800000" flipH="1">
              <a:off x="8629555" y="641261"/>
              <a:ext cx="436511" cy="13948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780" y="7588"/>
                  </a:lnTo>
                  <a:lnTo>
                    <a:pt x="12856" y="15861"/>
                  </a:lnTo>
                  <a:lnTo>
                    <a:pt x="13888" y="21102"/>
                  </a:lnTo>
                  <a:lnTo>
                    <a:pt x="20524" y="21600"/>
                  </a:lnTo>
                  <a:cubicBezTo>
                    <a:pt x="20524" y="21600"/>
                    <a:pt x="21600" y="15450"/>
                    <a:pt x="21600" y="13993"/>
                  </a:cubicBezTo>
                  <a:cubicBezTo>
                    <a:pt x="21600" y="12536"/>
                    <a:pt x="21600" y="6404"/>
                    <a:pt x="21600" y="6404"/>
                  </a:cubicBezTo>
                  <a:lnTo>
                    <a:pt x="15150" y="3432"/>
                  </a:lnTo>
                  <a:lnTo>
                    <a:pt x="8829" y="24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20000"/>
              </a:srgb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38" name="Shape 638"/>
            <p:cNvSpPr/>
            <p:nvPr/>
          </p:nvSpPr>
          <p:spPr>
            <a:xfrm rot="10800000" flipH="1">
              <a:off x="5874179" y="3760475"/>
              <a:ext cx="281885" cy="129134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94" y="0"/>
                  </a:moveTo>
                  <a:lnTo>
                    <a:pt x="0" y="15424"/>
                  </a:lnTo>
                  <a:lnTo>
                    <a:pt x="10769" y="16501"/>
                  </a:lnTo>
                  <a:lnTo>
                    <a:pt x="10144" y="21600"/>
                  </a:lnTo>
                  <a:lnTo>
                    <a:pt x="21600" y="20523"/>
                  </a:lnTo>
                  <a:lnTo>
                    <a:pt x="10925" y="9411"/>
                  </a:lnTo>
                  <a:lnTo>
                    <a:pt x="4994" y="0"/>
                  </a:lnTo>
                  <a:close/>
                </a:path>
              </a:pathLst>
            </a:custGeom>
            <a:solidFill>
              <a:schemeClr val="accent6">
                <a:lumMod val="25000"/>
                <a:alpha val="2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</p:grpSp>
      <p:grpSp>
        <p:nvGrpSpPr>
          <p:cNvPr id="655" name="Group 65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9893300" y="2305051"/>
            <a:ext cx="1460501" cy="876839"/>
            <a:chOff x="0" y="0"/>
            <a:chExt cx="2921000" cy="1753677"/>
          </a:xfrm>
        </p:grpSpPr>
        <p:sp>
          <p:nvSpPr>
            <p:cNvPr id="642" name="Shape 642"/>
            <p:cNvSpPr/>
            <p:nvPr/>
          </p:nvSpPr>
          <p:spPr>
            <a:xfrm>
              <a:off x="0" y="0"/>
              <a:ext cx="2921001" cy="175367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9847"/>
                  </a:moveTo>
                  <a:lnTo>
                    <a:pt x="1796" y="20374"/>
                  </a:lnTo>
                  <a:cubicBezTo>
                    <a:pt x="1796" y="20374"/>
                    <a:pt x="3515" y="20662"/>
                    <a:pt x="3610" y="20764"/>
                  </a:cubicBezTo>
                  <a:cubicBezTo>
                    <a:pt x="3704" y="20865"/>
                    <a:pt x="5402" y="20971"/>
                    <a:pt x="5402" y="20971"/>
                  </a:cubicBezTo>
                  <a:cubicBezTo>
                    <a:pt x="5402" y="20971"/>
                    <a:pt x="6612" y="21078"/>
                    <a:pt x="6708" y="21078"/>
                  </a:cubicBezTo>
                  <a:cubicBezTo>
                    <a:pt x="6804" y="21078"/>
                    <a:pt x="8782" y="21219"/>
                    <a:pt x="8782" y="21219"/>
                  </a:cubicBezTo>
                  <a:lnTo>
                    <a:pt x="9857" y="21529"/>
                  </a:lnTo>
                  <a:lnTo>
                    <a:pt x="10574" y="21600"/>
                  </a:lnTo>
                  <a:lnTo>
                    <a:pt x="14169" y="21356"/>
                  </a:lnTo>
                  <a:lnTo>
                    <a:pt x="15332" y="21144"/>
                  </a:lnTo>
                  <a:cubicBezTo>
                    <a:pt x="15332" y="21144"/>
                    <a:pt x="16084" y="20932"/>
                    <a:pt x="16213" y="20932"/>
                  </a:cubicBezTo>
                  <a:cubicBezTo>
                    <a:pt x="16342" y="20932"/>
                    <a:pt x="17466" y="20932"/>
                    <a:pt x="17466" y="20932"/>
                  </a:cubicBezTo>
                  <a:cubicBezTo>
                    <a:pt x="17466" y="20932"/>
                    <a:pt x="18449" y="21034"/>
                    <a:pt x="18578" y="20932"/>
                  </a:cubicBezTo>
                  <a:cubicBezTo>
                    <a:pt x="18707" y="20830"/>
                    <a:pt x="19606" y="20826"/>
                    <a:pt x="19688" y="20724"/>
                  </a:cubicBezTo>
                  <a:cubicBezTo>
                    <a:pt x="19769" y="20622"/>
                    <a:pt x="20916" y="20551"/>
                    <a:pt x="20916" y="20551"/>
                  </a:cubicBezTo>
                  <a:lnTo>
                    <a:pt x="21600" y="20232"/>
                  </a:lnTo>
                  <a:lnTo>
                    <a:pt x="21354" y="18157"/>
                  </a:lnTo>
                  <a:cubicBezTo>
                    <a:pt x="21354" y="18157"/>
                    <a:pt x="21094" y="16985"/>
                    <a:pt x="21000" y="16299"/>
                  </a:cubicBezTo>
                  <a:cubicBezTo>
                    <a:pt x="20906" y="15612"/>
                    <a:pt x="20418" y="14559"/>
                    <a:pt x="20418" y="14559"/>
                  </a:cubicBezTo>
                  <a:lnTo>
                    <a:pt x="19800" y="14134"/>
                  </a:lnTo>
                  <a:lnTo>
                    <a:pt x="19543" y="14343"/>
                  </a:lnTo>
                  <a:lnTo>
                    <a:pt x="19072" y="13930"/>
                  </a:lnTo>
                  <a:lnTo>
                    <a:pt x="18290" y="13718"/>
                  </a:lnTo>
                  <a:lnTo>
                    <a:pt x="17870" y="12700"/>
                  </a:lnTo>
                  <a:lnTo>
                    <a:pt x="17151" y="12382"/>
                  </a:lnTo>
                  <a:lnTo>
                    <a:pt x="16637" y="11408"/>
                  </a:lnTo>
                  <a:lnTo>
                    <a:pt x="15904" y="11514"/>
                  </a:lnTo>
                  <a:lnTo>
                    <a:pt x="15562" y="10328"/>
                  </a:lnTo>
                  <a:lnTo>
                    <a:pt x="15243" y="9841"/>
                  </a:lnTo>
                  <a:lnTo>
                    <a:pt x="14491" y="6253"/>
                  </a:lnTo>
                  <a:lnTo>
                    <a:pt x="14002" y="6358"/>
                  </a:lnTo>
                  <a:lnTo>
                    <a:pt x="13662" y="4823"/>
                  </a:lnTo>
                  <a:lnTo>
                    <a:pt x="12858" y="3840"/>
                  </a:lnTo>
                  <a:lnTo>
                    <a:pt x="12275" y="4752"/>
                  </a:lnTo>
                  <a:lnTo>
                    <a:pt x="11967" y="4858"/>
                  </a:lnTo>
                  <a:lnTo>
                    <a:pt x="11740" y="2385"/>
                  </a:lnTo>
                  <a:lnTo>
                    <a:pt x="10943" y="1960"/>
                  </a:lnTo>
                  <a:lnTo>
                    <a:pt x="10315" y="739"/>
                  </a:lnTo>
                  <a:lnTo>
                    <a:pt x="9612" y="0"/>
                  </a:lnTo>
                  <a:cubicBezTo>
                    <a:pt x="9612" y="0"/>
                    <a:pt x="9090" y="106"/>
                    <a:pt x="9008" y="212"/>
                  </a:cubicBezTo>
                  <a:cubicBezTo>
                    <a:pt x="8926" y="319"/>
                    <a:pt x="8603" y="810"/>
                    <a:pt x="8603" y="810"/>
                  </a:cubicBezTo>
                  <a:lnTo>
                    <a:pt x="7955" y="1124"/>
                  </a:lnTo>
                  <a:lnTo>
                    <a:pt x="6981" y="2362"/>
                  </a:lnTo>
                  <a:lnTo>
                    <a:pt x="6493" y="3876"/>
                  </a:lnTo>
                  <a:lnTo>
                    <a:pt x="5877" y="4398"/>
                  </a:lnTo>
                  <a:lnTo>
                    <a:pt x="5571" y="4154"/>
                  </a:lnTo>
                  <a:lnTo>
                    <a:pt x="5168" y="4469"/>
                  </a:lnTo>
                  <a:lnTo>
                    <a:pt x="4513" y="8919"/>
                  </a:lnTo>
                  <a:lnTo>
                    <a:pt x="4275" y="10220"/>
                  </a:lnTo>
                  <a:lnTo>
                    <a:pt x="3835" y="10605"/>
                  </a:lnTo>
                  <a:lnTo>
                    <a:pt x="3362" y="10181"/>
                  </a:lnTo>
                  <a:lnTo>
                    <a:pt x="3022" y="10181"/>
                  </a:lnTo>
                  <a:lnTo>
                    <a:pt x="2454" y="10464"/>
                  </a:lnTo>
                  <a:lnTo>
                    <a:pt x="2227" y="10955"/>
                  </a:lnTo>
                  <a:lnTo>
                    <a:pt x="1932" y="11729"/>
                  </a:lnTo>
                  <a:lnTo>
                    <a:pt x="1592" y="12637"/>
                  </a:lnTo>
                  <a:lnTo>
                    <a:pt x="73" y="18463"/>
                  </a:lnTo>
                  <a:lnTo>
                    <a:pt x="0" y="19847"/>
                  </a:lnTo>
                  <a:close/>
                </a:path>
              </a:pathLst>
            </a:custGeom>
            <a:solidFill>
              <a:schemeClr val="accent2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43" name="Shape 643"/>
            <p:cNvSpPr/>
            <p:nvPr/>
          </p:nvSpPr>
          <p:spPr>
            <a:xfrm>
              <a:off x="2043" y="398419"/>
              <a:ext cx="1349481" cy="130570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277" y="21600"/>
                  </a:moveTo>
                  <a:cubicBezTo>
                    <a:pt x="21277" y="21600"/>
                    <a:pt x="5549" y="20459"/>
                    <a:pt x="3142" y="19936"/>
                  </a:cubicBezTo>
                  <a:cubicBezTo>
                    <a:pt x="736" y="19414"/>
                    <a:pt x="0" y="19271"/>
                    <a:pt x="0" y="19271"/>
                  </a:cubicBezTo>
                  <a:cubicBezTo>
                    <a:pt x="0" y="19271"/>
                    <a:pt x="1364" y="18113"/>
                    <a:pt x="1875" y="17839"/>
                  </a:cubicBezTo>
                  <a:cubicBezTo>
                    <a:pt x="2385" y="17566"/>
                    <a:pt x="3763" y="15813"/>
                    <a:pt x="3763" y="15813"/>
                  </a:cubicBezTo>
                  <a:lnTo>
                    <a:pt x="4606" y="13727"/>
                  </a:lnTo>
                  <a:lnTo>
                    <a:pt x="3941" y="13067"/>
                  </a:lnTo>
                  <a:cubicBezTo>
                    <a:pt x="3941" y="13067"/>
                    <a:pt x="2385" y="15349"/>
                    <a:pt x="2177" y="15628"/>
                  </a:cubicBezTo>
                  <a:cubicBezTo>
                    <a:pt x="1968" y="15907"/>
                    <a:pt x="763" y="17185"/>
                    <a:pt x="763" y="17185"/>
                  </a:cubicBezTo>
                  <a:lnTo>
                    <a:pt x="3099" y="12729"/>
                  </a:lnTo>
                  <a:cubicBezTo>
                    <a:pt x="3099" y="12729"/>
                    <a:pt x="3692" y="11345"/>
                    <a:pt x="3799" y="11065"/>
                  </a:cubicBezTo>
                  <a:cubicBezTo>
                    <a:pt x="3905" y="10786"/>
                    <a:pt x="4535" y="9598"/>
                    <a:pt x="4535" y="9598"/>
                  </a:cubicBezTo>
                  <a:lnTo>
                    <a:pt x="5019" y="10014"/>
                  </a:lnTo>
                  <a:lnTo>
                    <a:pt x="5444" y="8927"/>
                  </a:lnTo>
                  <a:lnTo>
                    <a:pt x="6073" y="9444"/>
                  </a:lnTo>
                  <a:lnTo>
                    <a:pt x="6486" y="8641"/>
                  </a:lnTo>
                  <a:lnTo>
                    <a:pt x="6805" y="9866"/>
                  </a:lnTo>
                  <a:cubicBezTo>
                    <a:pt x="6805" y="9866"/>
                    <a:pt x="5710" y="11559"/>
                    <a:pt x="5604" y="11934"/>
                  </a:cubicBezTo>
                  <a:cubicBezTo>
                    <a:pt x="5498" y="12309"/>
                    <a:pt x="5710" y="13575"/>
                    <a:pt x="5710" y="13575"/>
                  </a:cubicBezTo>
                  <a:lnTo>
                    <a:pt x="6588" y="13480"/>
                  </a:lnTo>
                  <a:lnTo>
                    <a:pt x="6783" y="11310"/>
                  </a:lnTo>
                  <a:lnTo>
                    <a:pt x="7762" y="11168"/>
                  </a:lnTo>
                  <a:lnTo>
                    <a:pt x="8676" y="11917"/>
                  </a:lnTo>
                  <a:lnTo>
                    <a:pt x="9101" y="10556"/>
                  </a:lnTo>
                  <a:lnTo>
                    <a:pt x="9341" y="9449"/>
                  </a:lnTo>
                  <a:cubicBezTo>
                    <a:pt x="9341" y="9449"/>
                    <a:pt x="10502" y="9883"/>
                    <a:pt x="10502" y="10156"/>
                  </a:cubicBezTo>
                  <a:cubicBezTo>
                    <a:pt x="10502" y="10430"/>
                    <a:pt x="9119" y="12290"/>
                    <a:pt x="8942" y="12664"/>
                  </a:cubicBezTo>
                  <a:cubicBezTo>
                    <a:pt x="8765" y="13039"/>
                    <a:pt x="8340" y="13752"/>
                    <a:pt x="8340" y="14311"/>
                  </a:cubicBezTo>
                  <a:cubicBezTo>
                    <a:pt x="8340" y="14869"/>
                    <a:pt x="8690" y="15154"/>
                    <a:pt x="8690" y="15154"/>
                  </a:cubicBezTo>
                  <a:lnTo>
                    <a:pt x="9962" y="12706"/>
                  </a:lnTo>
                  <a:lnTo>
                    <a:pt x="10871" y="11951"/>
                  </a:lnTo>
                  <a:cubicBezTo>
                    <a:pt x="10871" y="11951"/>
                    <a:pt x="11261" y="11655"/>
                    <a:pt x="11363" y="11381"/>
                  </a:cubicBezTo>
                  <a:cubicBezTo>
                    <a:pt x="11465" y="11107"/>
                    <a:pt x="12383" y="10067"/>
                    <a:pt x="12383" y="10067"/>
                  </a:cubicBezTo>
                  <a:lnTo>
                    <a:pt x="13513" y="7951"/>
                  </a:lnTo>
                  <a:cubicBezTo>
                    <a:pt x="13513" y="7951"/>
                    <a:pt x="13895" y="7143"/>
                    <a:pt x="13615" y="7143"/>
                  </a:cubicBezTo>
                  <a:cubicBezTo>
                    <a:pt x="13335" y="7143"/>
                    <a:pt x="11780" y="7001"/>
                    <a:pt x="11780" y="7001"/>
                  </a:cubicBezTo>
                  <a:lnTo>
                    <a:pt x="9905" y="6858"/>
                  </a:lnTo>
                  <a:cubicBezTo>
                    <a:pt x="9905" y="6858"/>
                    <a:pt x="10579" y="1214"/>
                    <a:pt x="11177" y="607"/>
                  </a:cubicBezTo>
                  <a:cubicBezTo>
                    <a:pt x="11776" y="0"/>
                    <a:pt x="12051" y="0"/>
                    <a:pt x="12051" y="0"/>
                  </a:cubicBezTo>
                  <a:lnTo>
                    <a:pt x="11838" y="1213"/>
                  </a:lnTo>
                  <a:lnTo>
                    <a:pt x="12259" y="1629"/>
                  </a:lnTo>
                  <a:lnTo>
                    <a:pt x="12751" y="1107"/>
                  </a:lnTo>
                  <a:lnTo>
                    <a:pt x="13177" y="114"/>
                  </a:lnTo>
                  <a:lnTo>
                    <a:pt x="13696" y="399"/>
                  </a:lnTo>
                  <a:lnTo>
                    <a:pt x="14507" y="263"/>
                  </a:lnTo>
                  <a:lnTo>
                    <a:pt x="13881" y="1565"/>
                  </a:lnTo>
                  <a:lnTo>
                    <a:pt x="14369" y="1939"/>
                  </a:lnTo>
                  <a:lnTo>
                    <a:pt x="14157" y="3027"/>
                  </a:lnTo>
                  <a:lnTo>
                    <a:pt x="13452" y="3918"/>
                  </a:lnTo>
                  <a:lnTo>
                    <a:pt x="13554" y="5054"/>
                  </a:lnTo>
                  <a:lnTo>
                    <a:pt x="14073" y="4769"/>
                  </a:lnTo>
                  <a:lnTo>
                    <a:pt x="14774" y="3206"/>
                  </a:lnTo>
                  <a:lnTo>
                    <a:pt x="15053" y="4383"/>
                  </a:lnTo>
                  <a:lnTo>
                    <a:pt x="14521" y="6510"/>
                  </a:lnTo>
                  <a:lnTo>
                    <a:pt x="13435" y="9482"/>
                  </a:lnTo>
                  <a:lnTo>
                    <a:pt x="13151" y="11122"/>
                  </a:lnTo>
                  <a:lnTo>
                    <a:pt x="13045" y="12875"/>
                  </a:lnTo>
                  <a:lnTo>
                    <a:pt x="14774" y="11788"/>
                  </a:lnTo>
                  <a:lnTo>
                    <a:pt x="14774" y="10659"/>
                  </a:lnTo>
                  <a:lnTo>
                    <a:pt x="15341" y="8995"/>
                  </a:lnTo>
                  <a:lnTo>
                    <a:pt x="16041" y="8097"/>
                  </a:lnTo>
                  <a:lnTo>
                    <a:pt x="16321" y="7105"/>
                  </a:lnTo>
                  <a:lnTo>
                    <a:pt x="17451" y="5839"/>
                  </a:lnTo>
                  <a:lnTo>
                    <a:pt x="18404" y="6831"/>
                  </a:lnTo>
                  <a:cubicBezTo>
                    <a:pt x="18404" y="6831"/>
                    <a:pt x="18931" y="8447"/>
                    <a:pt x="18829" y="8864"/>
                  </a:cubicBezTo>
                  <a:cubicBezTo>
                    <a:pt x="18727" y="9280"/>
                    <a:pt x="18231" y="10314"/>
                    <a:pt x="18231" y="10314"/>
                  </a:cubicBezTo>
                  <a:cubicBezTo>
                    <a:pt x="18231" y="10314"/>
                    <a:pt x="18443" y="11544"/>
                    <a:pt x="18443" y="11824"/>
                  </a:cubicBezTo>
                  <a:cubicBezTo>
                    <a:pt x="18443" y="12103"/>
                    <a:pt x="18337" y="13417"/>
                    <a:pt x="18337" y="13417"/>
                  </a:cubicBezTo>
                  <a:lnTo>
                    <a:pt x="18762" y="14451"/>
                  </a:lnTo>
                  <a:lnTo>
                    <a:pt x="19081" y="15824"/>
                  </a:lnTo>
                  <a:lnTo>
                    <a:pt x="19959" y="15729"/>
                  </a:lnTo>
                  <a:lnTo>
                    <a:pt x="19959" y="14505"/>
                  </a:lnTo>
                  <a:cubicBezTo>
                    <a:pt x="19959" y="14505"/>
                    <a:pt x="19006" y="13216"/>
                    <a:pt x="19006" y="12942"/>
                  </a:cubicBezTo>
                  <a:cubicBezTo>
                    <a:pt x="19006" y="12668"/>
                    <a:pt x="19499" y="12383"/>
                    <a:pt x="19499" y="12383"/>
                  </a:cubicBezTo>
                  <a:cubicBezTo>
                    <a:pt x="19499" y="12383"/>
                    <a:pt x="20261" y="11592"/>
                    <a:pt x="19880" y="11497"/>
                  </a:cubicBezTo>
                  <a:cubicBezTo>
                    <a:pt x="19499" y="11402"/>
                    <a:pt x="18789" y="10868"/>
                    <a:pt x="18789" y="10594"/>
                  </a:cubicBezTo>
                  <a:cubicBezTo>
                    <a:pt x="18789" y="10320"/>
                    <a:pt x="19742" y="9755"/>
                    <a:pt x="19742" y="9755"/>
                  </a:cubicBezTo>
                  <a:lnTo>
                    <a:pt x="20682" y="10320"/>
                  </a:lnTo>
                  <a:lnTo>
                    <a:pt x="21139" y="9666"/>
                  </a:lnTo>
                  <a:lnTo>
                    <a:pt x="21210" y="13558"/>
                  </a:lnTo>
                  <a:cubicBezTo>
                    <a:pt x="21210" y="13558"/>
                    <a:pt x="21600" y="16219"/>
                    <a:pt x="21600" y="16499"/>
                  </a:cubicBezTo>
                  <a:cubicBezTo>
                    <a:pt x="21600" y="16778"/>
                    <a:pt x="21600" y="20385"/>
                    <a:pt x="21600" y="20385"/>
                  </a:cubicBezTo>
                  <a:lnTo>
                    <a:pt x="21277" y="2160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44" name="Shape 644"/>
            <p:cNvSpPr/>
            <p:nvPr/>
          </p:nvSpPr>
          <p:spPr>
            <a:xfrm>
              <a:off x="1312104" y="159710"/>
              <a:ext cx="162837" cy="6168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314" y="0"/>
                  </a:moveTo>
                  <a:lnTo>
                    <a:pt x="12196" y="5397"/>
                  </a:lnTo>
                  <a:lnTo>
                    <a:pt x="16312" y="8504"/>
                  </a:lnTo>
                  <a:lnTo>
                    <a:pt x="21600" y="12014"/>
                  </a:lnTo>
                  <a:lnTo>
                    <a:pt x="21600" y="16014"/>
                  </a:lnTo>
                  <a:lnTo>
                    <a:pt x="16312" y="19523"/>
                  </a:lnTo>
                  <a:lnTo>
                    <a:pt x="11644" y="21600"/>
                  </a:lnTo>
                  <a:lnTo>
                    <a:pt x="9037" y="19813"/>
                  </a:lnTo>
                  <a:lnTo>
                    <a:pt x="14289" y="16002"/>
                  </a:lnTo>
                  <a:cubicBezTo>
                    <a:pt x="14289" y="16002"/>
                    <a:pt x="15171" y="13977"/>
                    <a:pt x="15171" y="13386"/>
                  </a:cubicBezTo>
                  <a:cubicBezTo>
                    <a:pt x="15171" y="12795"/>
                    <a:pt x="12563" y="11586"/>
                    <a:pt x="12563" y="10995"/>
                  </a:cubicBezTo>
                  <a:cubicBezTo>
                    <a:pt x="12563" y="10404"/>
                    <a:pt x="4958" y="10493"/>
                    <a:pt x="4958" y="8291"/>
                  </a:cubicBezTo>
                  <a:cubicBezTo>
                    <a:pt x="4958" y="6090"/>
                    <a:pt x="4079" y="4693"/>
                    <a:pt x="4079" y="4693"/>
                  </a:cubicBezTo>
                  <a:lnTo>
                    <a:pt x="0" y="1611"/>
                  </a:lnTo>
                  <a:lnTo>
                    <a:pt x="2314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45" name="Shape 645"/>
            <p:cNvSpPr/>
            <p:nvPr/>
          </p:nvSpPr>
          <p:spPr>
            <a:xfrm>
              <a:off x="1284994" y="501304"/>
              <a:ext cx="88059" cy="28341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928" y="655"/>
                  </a:moveTo>
                  <a:lnTo>
                    <a:pt x="21600" y="0"/>
                  </a:lnTo>
                  <a:lnTo>
                    <a:pt x="21600" y="6954"/>
                  </a:lnTo>
                  <a:lnTo>
                    <a:pt x="13997" y="21600"/>
                  </a:lnTo>
                  <a:lnTo>
                    <a:pt x="0" y="17851"/>
                  </a:lnTo>
                  <a:lnTo>
                    <a:pt x="1626" y="2821"/>
                  </a:lnTo>
                  <a:lnTo>
                    <a:pt x="5366" y="13251"/>
                  </a:lnTo>
                  <a:lnTo>
                    <a:pt x="11210" y="7225"/>
                  </a:lnTo>
                  <a:lnTo>
                    <a:pt x="10928" y="655"/>
                  </a:lnTo>
                  <a:close/>
                </a:path>
              </a:pathLst>
            </a:custGeom>
            <a:solidFill>
              <a:srgbClr val="9CB2CB"/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46" name="Shape 646"/>
            <p:cNvSpPr/>
            <p:nvPr/>
          </p:nvSpPr>
          <p:spPr>
            <a:xfrm>
              <a:off x="1109051" y="90667"/>
              <a:ext cx="103284" cy="39625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278" y="0"/>
                  </a:moveTo>
                  <a:lnTo>
                    <a:pt x="13893" y="7460"/>
                  </a:lnTo>
                  <a:lnTo>
                    <a:pt x="12501" y="12279"/>
                  </a:lnTo>
                  <a:lnTo>
                    <a:pt x="20266" y="14434"/>
                  </a:lnTo>
                  <a:lnTo>
                    <a:pt x="21600" y="21600"/>
                  </a:lnTo>
                  <a:lnTo>
                    <a:pt x="11412" y="17565"/>
                  </a:lnTo>
                  <a:lnTo>
                    <a:pt x="3075" y="12260"/>
                  </a:lnTo>
                  <a:lnTo>
                    <a:pt x="7243" y="7737"/>
                  </a:lnTo>
                  <a:lnTo>
                    <a:pt x="0" y="4974"/>
                  </a:lnTo>
                  <a:lnTo>
                    <a:pt x="4278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47" name="Shape 647"/>
            <p:cNvSpPr/>
            <p:nvPr/>
          </p:nvSpPr>
          <p:spPr>
            <a:xfrm>
              <a:off x="918283" y="179265"/>
              <a:ext cx="312740" cy="55900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5986" y="4859"/>
                  </a:moveTo>
                  <a:lnTo>
                    <a:pt x="6884" y="0"/>
                  </a:lnTo>
                  <a:lnTo>
                    <a:pt x="9755" y="5387"/>
                  </a:lnTo>
                  <a:lnTo>
                    <a:pt x="9295" y="10037"/>
                  </a:lnTo>
                  <a:lnTo>
                    <a:pt x="11895" y="12022"/>
                  </a:lnTo>
                  <a:lnTo>
                    <a:pt x="14136" y="8150"/>
                  </a:lnTo>
                  <a:lnTo>
                    <a:pt x="16394" y="11217"/>
                  </a:lnTo>
                  <a:lnTo>
                    <a:pt x="16394" y="14522"/>
                  </a:lnTo>
                  <a:lnTo>
                    <a:pt x="19361" y="14842"/>
                  </a:lnTo>
                  <a:lnTo>
                    <a:pt x="21600" y="14189"/>
                  </a:lnTo>
                  <a:lnTo>
                    <a:pt x="21600" y="18922"/>
                  </a:lnTo>
                  <a:lnTo>
                    <a:pt x="20666" y="21600"/>
                  </a:lnTo>
                  <a:lnTo>
                    <a:pt x="16571" y="19713"/>
                  </a:lnTo>
                  <a:lnTo>
                    <a:pt x="12764" y="15104"/>
                  </a:lnTo>
                  <a:lnTo>
                    <a:pt x="9032" y="12590"/>
                  </a:lnTo>
                  <a:lnTo>
                    <a:pt x="5856" y="8659"/>
                  </a:lnTo>
                  <a:lnTo>
                    <a:pt x="900" y="7451"/>
                  </a:lnTo>
                  <a:lnTo>
                    <a:pt x="0" y="3691"/>
                  </a:lnTo>
                  <a:lnTo>
                    <a:pt x="2564" y="1065"/>
                  </a:lnTo>
                  <a:lnTo>
                    <a:pt x="5986" y="4859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48" name="Shape 648"/>
            <p:cNvSpPr/>
            <p:nvPr/>
          </p:nvSpPr>
          <p:spPr>
            <a:xfrm>
              <a:off x="939911" y="456472"/>
              <a:ext cx="144597" cy="3506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211" y="2479"/>
                  </a:lnTo>
                  <a:lnTo>
                    <a:pt x="17707" y="8610"/>
                  </a:lnTo>
                  <a:lnTo>
                    <a:pt x="21600" y="13835"/>
                  </a:lnTo>
                  <a:lnTo>
                    <a:pt x="15023" y="16821"/>
                  </a:lnTo>
                  <a:lnTo>
                    <a:pt x="7452" y="21600"/>
                  </a:lnTo>
                  <a:lnTo>
                    <a:pt x="7452" y="15979"/>
                  </a:lnTo>
                  <a:lnTo>
                    <a:pt x="11673" y="13231"/>
                  </a:lnTo>
                  <a:lnTo>
                    <a:pt x="10020" y="6302"/>
                  </a:lnTo>
                  <a:lnTo>
                    <a:pt x="2278" y="386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49" name="Shape 649"/>
            <p:cNvSpPr/>
            <p:nvPr/>
          </p:nvSpPr>
          <p:spPr>
            <a:xfrm>
              <a:off x="1660549" y="340624"/>
              <a:ext cx="107719" cy="3092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6324" y="0"/>
                  </a:moveTo>
                  <a:lnTo>
                    <a:pt x="21600" y="9985"/>
                  </a:lnTo>
                  <a:lnTo>
                    <a:pt x="17603" y="21600"/>
                  </a:lnTo>
                  <a:lnTo>
                    <a:pt x="12276" y="12121"/>
                  </a:lnTo>
                  <a:lnTo>
                    <a:pt x="6056" y="20124"/>
                  </a:lnTo>
                  <a:lnTo>
                    <a:pt x="2169" y="16986"/>
                  </a:lnTo>
                  <a:lnTo>
                    <a:pt x="0" y="5371"/>
                  </a:lnTo>
                  <a:lnTo>
                    <a:pt x="7780" y="7554"/>
                  </a:lnTo>
                  <a:lnTo>
                    <a:pt x="1632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50" name="Shape 650"/>
            <p:cNvSpPr/>
            <p:nvPr/>
          </p:nvSpPr>
          <p:spPr>
            <a:xfrm>
              <a:off x="1662918" y="777023"/>
              <a:ext cx="58681" cy="11491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7589" h="21600" extrusionOk="0">
                  <a:moveTo>
                    <a:pt x="5796" y="0"/>
                  </a:moveTo>
                  <a:cubicBezTo>
                    <a:pt x="5796" y="0"/>
                    <a:pt x="-4011" y="16745"/>
                    <a:pt x="1889" y="18362"/>
                  </a:cubicBezTo>
                  <a:cubicBezTo>
                    <a:pt x="7790" y="19978"/>
                    <a:pt x="13683" y="21600"/>
                    <a:pt x="13683" y="21600"/>
                  </a:cubicBezTo>
                  <a:lnTo>
                    <a:pt x="17589" y="10931"/>
                  </a:lnTo>
                  <a:lnTo>
                    <a:pt x="5796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51" name="Shape 651"/>
            <p:cNvSpPr/>
            <p:nvPr/>
          </p:nvSpPr>
          <p:spPr>
            <a:xfrm>
              <a:off x="1899932" y="535890"/>
              <a:ext cx="126332" cy="25112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829"/>
                  </a:moveTo>
                  <a:lnTo>
                    <a:pt x="21600" y="21600"/>
                  </a:lnTo>
                  <a:lnTo>
                    <a:pt x="8346" y="0"/>
                  </a:lnTo>
                  <a:lnTo>
                    <a:pt x="0" y="1829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52" name="Shape 652"/>
            <p:cNvSpPr/>
            <p:nvPr/>
          </p:nvSpPr>
          <p:spPr>
            <a:xfrm>
              <a:off x="2432119" y="1200299"/>
              <a:ext cx="245687" cy="41131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3" y="3264"/>
                  </a:moveTo>
                  <a:lnTo>
                    <a:pt x="6013" y="0"/>
                  </a:lnTo>
                  <a:lnTo>
                    <a:pt x="0" y="0"/>
                  </a:lnTo>
                  <a:lnTo>
                    <a:pt x="0" y="7810"/>
                  </a:lnTo>
                  <a:lnTo>
                    <a:pt x="1168" y="13809"/>
                  </a:lnTo>
                  <a:lnTo>
                    <a:pt x="7525" y="18636"/>
                  </a:lnTo>
                  <a:lnTo>
                    <a:pt x="11302" y="21600"/>
                  </a:lnTo>
                  <a:lnTo>
                    <a:pt x="18336" y="20561"/>
                  </a:lnTo>
                  <a:lnTo>
                    <a:pt x="21015" y="18034"/>
                  </a:lnTo>
                  <a:lnTo>
                    <a:pt x="21600" y="12789"/>
                  </a:lnTo>
                  <a:lnTo>
                    <a:pt x="20042" y="7525"/>
                  </a:lnTo>
                  <a:lnTo>
                    <a:pt x="18312" y="14961"/>
                  </a:lnTo>
                  <a:lnTo>
                    <a:pt x="16754" y="17604"/>
                  </a:lnTo>
                  <a:lnTo>
                    <a:pt x="15587" y="10531"/>
                  </a:lnTo>
                  <a:lnTo>
                    <a:pt x="12734" y="7550"/>
                  </a:lnTo>
                  <a:lnTo>
                    <a:pt x="8086" y="11605"/>
                  </a:lnTo>
                  <a:lnTo>
                    <a:pt x="5967" y="9983"/>
                  </a:lnTo>
                  <a:lnTo>
                    <a:pt x="11543" y="3868"/>
                  </a:lnTo>
                  <a:lnTo>
                    <a:pt x="8498" y="1944"/>
                  </a:lnTo>
                  <a:lnTo>
                    <a:pt x="6013" y="3264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53" name="Shape 653"/>
            <p:cNvSpPr/>
            <p:nvPr/>
          </p:nvSpPr>
          <p:spPr>
            <a:xfrm>
              <a:off x="2639358" y="1208800"/>
              <a:ext cx="133508" cy="3732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1780" y="7588"/>
                  </a:lnTo>
                  <a:lnTo>
                    <a:pt x="12856" y="15861"/>
                  </a:lnTo>
                  <a:lnTo>
                    <a:pt x="13888" y="21102"/>
                  </a:lnTo>
                  <a:lnTo>
                    <a:pt x="20524" y="21600"/>
                  </a:lnTo>
                  <a:cubicBezTo>
                    <a:pt x="20524" y="21600"/>
                    <a:pt x="21600" y="15450"/>
                    <a:pt x="21600" y="13993"/>
                  </a:cubicBezTo>
                  <a:cubicBezTo>
                    <a:pt x="21600" y="12536"/>
                    <a:pt x="21600" y="6404"/>
                    <a:pt x="21600" y="6404"/>
                  </a:cubicBezTo>
                  <a:lnTo>
                    <a:pt x="15150" y="3432"/>
                  </a:lnTo>
                  <a:lnTo>
                    <a:pt x="8829" y="24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654" name="Shape 654"/>
            <p:cNvSpPr/>
            <p:nvPr/>
          </p:nvSpPr>
          <p:spPr>
            <a:xfrm>
              <a:off x="1796625" y="401780"/>
              <a:ext cx="86215" cy="34557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4994" y="0"/>
                  </a:moveTo>
                  <a:lnTo>
                    <a:pt x="0" y="15424"/>
                  </a:lnTo>
                  <a:lnTo>
                    <a:pt x="10769" y="16501"/>
                  </a:lnTo>
                  <a:lnTo>
                    <a:pt x="10144" y="21600"/>
                  </a:lnTo>
                  <a:lnTo>
                    <a:pt x="21600" y="20523"/>
                  </a:lnTo>
                  <a:lnTo>
                    <a:pt x="10925" y="9411"/>
                  </a:lnTo>
                  <a:lnTo>
                    <a:pt x="4994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solidFill>
                  <a:schemeClr val="tx2">
                    <a:lumMod val="7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</p:grpSp>
      <p:sp>
        <p:nvSpPr>
          <p:cNvPr id="656" name="Shape 65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89000" y="1470234"/>
            <a:ext cx="3105150" cy="482183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 algn="l">
              <a:defRPr sz="1800"/>
            </a:pPr>
            <a:r>
              <a:rPr sz="2800" b="1" dirty="0">
                <a:solidFill>
                  <a:schemeClr val="tx2">
                    <a:lumMod val="7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What </a:t>
            </a:r>
            <a:r>
              <a:rPr sz="2800" dirty="0">
                <a:solidFill>
                  <a:schemeClr val="tx2">
                    <a:lumMod val="7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we see</a:t>
            </a:r>
          </a:p>
        </p:txBody>
      </p:sp>
      <p:grpSp>
        <p:nvGrpSpPr>
          <p:cNvPr id="675" name="Group 67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370829" y="1085874"/>
            <a:ext cx="4775822" cy="2210306"/>
            <a:chOff x="0" y="0"/>
            <a:chExt cx="9551643" cy="4420610"/>
          </a:xfrm>
        </p:grpSpPr>
        <p:grpSp>
          <p:nvGrpSpPr>
            <p:cNvPr id="673" name="Group 673"/>
            <p:cNvGrpSpPr/>
            <p:nvPr/>
          </p:nvGrpSpPr>
          <p:grpSpPr>
            <a:xfrm>
              <a:off x="0" y="0"/>
              <a:ext cx="9551644" cy="4420611"/>
              <a:chOff x="0" y="0"/>
              <a:chExt cx="9551643" cy="4420610"/>
            </a:xfrm>
          </p:grpSpPr>
          <p:sp>
            <p:nvSpPr>
              <p:cNvPr id="660" name="Shape 660"/>
              <p:cNvSpPr/>
              <p:nvPr/>
            </p:nvSpPr>
            <p:spPr>
              <a:xfrm>
                <a:off x="0" y="0"/>
                <a:ext cx="9551644" cy="442061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9847"/>
                    </a:moveTo>
                    <a:lnTo>
                      <a:pt x="1796" y="20374"/>
                    </a:lnTo>
                    <a:cubicBezTo>
                      <a:pt x="1796" y="20374"/>
                      <a:pt x="3515" y="20662"/>
                      <a:pt x="3610" y="20764"/>
                    </a:cubicBezTo>
                    <a:cubicBezTo>
                      <a:pt x="3704" y="20865"/>
                      <a:pt x="5402" y="20971"/>
                      <a:pt x="5402" y="20971"/>
                    </a:cubicBezTo>
                    <a:cubicBezTo>
                      <a:pt x="5402" y="20971"/>
                      <a:pt x="6612" y="21078"/>
                      <a:pt x="6708" y="21078"/>
                    </a:cubicBezTo>
                    <a:cubicBezTo>
                      <a:pt x="6804" y="21078"/>
                      <a:pt x="8782" y="21219"/>
                      <a:pt x="8782" y="21219"/>
                    </a:cubicBezTo>
                    <a:lnTo>
                      <a:pt x="9857" y="21529"/>
                    </a:lnTo>
                    <a:lnTo>
                      <a:pt x="10574" y="21600"/>
                    </a:lnTo>
                    <a:lnTo>
                      <a:pt x="14169" y="21356"/>
                    </a:lnTo>
                    <a:lnTo>
                      <a:pt x="15332" y="21144"/>
                    </a:lnTo>
                    <a:cubicBezTo>
                      <a:pt x="15332" y="21144"/>
                      <a:pt x="16084" y="20932"/>
                      <a:pt x="16213" y="20932"/>
                    </a:cubicBezTo>
                    <a:cubicBezTo>
                      <a:pt x="16342" y="20932"/>
                      <a:pt x="17466" y="20932"/>
                      <a:pt x="17466" y="20932"/>
                    </a:cubicBezTo>
                    <a:cubicBezTo>
                      <a:pt x="17466" y="20932"/>
                      <a:pt x="18449" y="21034"/>
                      <a:pt x="18578" y="20932"/>
                    </a:cubicBezTo>
                    <a:cubicBezTo>
                      <a:pt x="18707" y="20830"/>
                      <a:pt x="19606" y="20826"/>
                      <a:pt x="19688" y="20724"/>
                    </a:cubicBezTo>
                    <a:cubicBezTo>
                      <a:pt x="19769" y="20622"/>
                      <a:pt x="20916" y="20551"/>
                      <a:pt x="20916" y="20551"/>
                    </a:cubicBezTo>
                    <a:lnTo>
                      <a:pt x="21600" y="20232"/>
                    </a:lnTo>
                    <a:lnTo>
                      <a:pt x="21354" y="18157"/>
                    </a:lnTo>
                    <a:cubicBezTo>
                      <a:pt x="21354" y="18157"/>
                      <a:pt x="21094" y="16985"/>
                      <a:pt x="21000" y="16299"/>
                    </a:cubicBezTo>
                    <a:cubicBezTo>
                      <a:pt x="20906" y="15612"/>
                      <a:pt x="20418" y="14559"/>
                      <a:pt x="20418" y="14559"/>
                    </a:cubicBezTo>
                    <a:lnTo>
                      <a:pt x="19800" y="14134"/>
                    </a:lnTo>
                    <a:lnTo>
                      <a:pt x="19544" y="14343"/>
                    </a:lnTo>
                    <a:lnTo>
                      <a:pt x="19072" y="13930"/>
                    </a:lnTo>
                    <a:lnTo>
                      <a:pt x="18290" y="13718"/>
                    </a:lnTo>
                    <a:lnTo>
                      <a:pt x="17870" y="12700"/>
                    </a:lnTo>
                    <a:lnTo>
                      <a:pt x="17151" y="12382"/>
                    </a:lnTo>
                    <a:lnTo>
                      <a:pt x="16637" y="11408"/>
                    </a:lnTo>
                    <a:lnTo>
                      <a:pt x="15904" y="11514"/>
                    </a:lnTo>
                    <a:lnTo>
                      <a:pt x="15562" y="10328"/>
                    </a:lnTo>
                    <a:lnTo>
                      <a:pt x="15243" y="9841"/>
                    </a:lnTo>
                    <a:lnTo>
                      <a:pt x="14491" y="6253"/>
                    </a:lnTo>
                    <a:lnTo>
                      <a:pt x="14002" y="6358"/>
                    </a:lnTo>
                    <a:lnTo>
                      <a:pt x="13662" y="4823"/>
                    </a:lnTo>
                    <a:lnTo>
                      <a:pt x="12858" y="3840"/>
                    </a:lnTo>
                    <a:lnTo>
                      <a:pt x="12275" y="4752"/>
                    </a:lnTo>
                    <a:lnTo>
                      <a:pt x="11967" y="4858"/>
                    </a:lnTo>
                    <a:lnTo>
                      <a:pt x="11740" y="2385"/>
                    </a:lnTo>
                    <a:lnTo>
                      <a:pt x="10943" y="1960"/>
                    </a:lnTo>
                    <a:lnTo>
                      <a:pt x="10315" y="739"/>
                    </a:lnTo>
                    <a:lnTo>
                      <a:pt x="9612" y="0"/>
                    </a:lnTo>
                    <a:cubicBezTo>
                      <a:pt x="9612" y="0"/>
                      <a:pt x="9090" y="106"/>
                      <a:pt x="9008" y="212"/>
                    </a:cubicBezTo>
                    <a:cubicBezTo>
                      <a:pt x="8926" y="319"/>
                      <a:pt x="8603" y="810"/>
                      <a:pt x="8603" y="810"/>
                    </a:cubicBezTo>
                    <a:lnTo>
                      <a:pt x="7955" y="1124"/>
                    </a:lnTo>
                    <a:lnTo>
                      <a:pt x="6981" y="2362"/>
                    </a:lnTo>
                    <a:lnTo>
                      <a:pt x="6493" y="3876"/>
                    </a:lnTo>
                    <a:lnTo>
                      <a:pt x="5877" y="4398"/>
                    </a:lnTo>
                    <a:lnTo>
                      <a:pt x="5571" y="4154"/>
                    </a:lnTo>
                    <a:lnTo>
                      <a:pt x="5168" y="4469"/>
                    </a:lnTo>
                    <a:lnTo>
                      <a:pt x="4513" y="8919"/>
                    </a:lnTo>
                    <a:lnTo>
                      <a:pt x="4275" y="10220"/>
                    </a:lnTo>
                    <a:lnTo>
                      <a:pt x="3835" y="10605"/>
                    </a:lnTo>
                    <a:lnTo>
                      <a:pt x="3362" y="10181"/>
                    </a:lnTo>
                    <a:lnTo>
                      <a:pt x="3022" y="10181"/>
                    </a:lnTo>
                    <a:lnTo>
                      <a:pt x="2454" y="10464"/>
                    </a:lnTo>
                    <a:lnTo>
                      <a:pt x="2227" y="10955"/>
                    </a:lnTo>
                    <a:lnTo>
                      <a:pt x="1932" y="11729"/>
                    </a:lnTo>
                    <a:lnTo>
                      <a:pt x="1592" y="12637"/>
                    </a:lnTo>
                    <a:lnTo>
                      <a:pt x="73" y="18463"/>
                    </a:lnTo>
                    <a:lnTo>
                      <a:pt x="0" y="19847"/>
                    </a:lnTo>
                    <a:close/>
                  </a:path>
                </a:pathLst>
              </a:custGeom>
              <a:solidFill>
                <a:schemeClr val="accent2"/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61" name="Shape 661"/>
              <p:cNvSpPr/>
              <p:nvPr/>
            </p:nvSpPr>
            <p:spPr>
              <a:xfrm>
                <a:off x="6681" y="1004321"/>
                <a:ext cx="4412789" cy="32913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277" y="21600"/>
                    </a:moveTo>
                    <a:cubicBezTo>
                      <a:pt x="21277" y="21600"/>
                      <a:pt x="5549" y="20459"/>
                      <a:pt x="3142" y="19936"/>
                    </a:cubicBezTo>
                    <a:cubicBezTo>
                      <a:pt x="736" y="19414"/>
                      <a:pt x="0" y="19271"/>
                      <a:pt x="0" y="19271"/>
                    </a:cubicBezTo>
                    <a:cubicBezTo>
                      <a:pt x="0" y="19271"/>
                      <a:pt x="1364" y="18113"/>
                      <a:pt x="1875" y="17839"/>
                    </a:cubicBezTo>
                    <a:cubicBezTo>
                      <a:pt x="2385" y="17566"/>
                      <a:pt x="3763" y="15813"/>
                      <a:pt x="3763" y="15813"/>
                    </a:cubicBezTo>
                    <a:lnTo>
                      <a:pt x="4606" y="13727"/>
                    </a:lnTo>
                    <a:lnTo>
                      <a:pt x="3941" y="13067"/>
                    </a:lnTo>
                    <a:cubicBezTo>
                      <a:pt x="3941" y="13067"/>
                      <a:pt x="2385" y="15349"/>
                      <a:pt x="2177" y="15628"/>
                    </a:cubicBezTo>
                    <a:cubicBezTo>
                      <a:pt x="1968" y="15907"/>
                      <a:pt x="763" y="17185"/>
                      <a:pt x="763" y="17185"/>
                    </a:cubicBezTo>
                    <a:lnTo>
                      <a:pt x="3099" y="12729"/>
                    </a:lnTo>
                    <a:cubicBezTo>
                      <a:pt x="3099" y="12729"/>
                      <a:pt x="3692" y="11345"/>
                      <a:pt x="3799" y="11065"/>
                    </a:cubicBezTo>
                    <a:cubicBezTo>
                      <a:pt x="3905" y="10786"/>
                      <a:pt x="4535" y="9598"/>
                      <a:pt x="4535" y="9598"/>
                    </a:cubicBezTo>
                    <a:lnTo>
                      <a:pt x="5019" y="10014"/>
                    </a:lnTo>
                    <a:lnTo>
                      <a:pt x="5444" y="8927"/>
                    </a:lnTo>
                    <a:lnTo>
                      <a:pt x="6073" y="9444"/>
                    </a:lnTo>
                    <a:lnTo>
                      <a:pt x="6486" y="8641"/>
                    </a:lnTo>
                    <a:lnTo>
                      <a:pt x="6805" y="9866"/>
                    </a:lnTo>
                    <a:cubicBezTo>
                      <a:pt x="6805" y="9866"/>
                      <a:pt x="5710" y="11559"/>
                      <a:pt x="5604" y="11934"/>
                    </a:cubicBezTo>
                    <a:cubicBezTo>
                      <a:pt x="5498" y="12309"/>
                      <a:pt x="5710" y="13575"/>
                      <a:pt x="5710" y="13575"/>
                    </a:cubicBezTo>
                    <a:lnTo>
                      <a:pt x="6588" y="13480"/>
                    </a:lnTo>
                    <a:lnTo>
                      <a:pt x="6783" y="11310"/>
                    </a:lnTo>
                    <a:lnTo>
                      <a:pt x="7762" y="11168"/>
                    </a:lnTo>
                    <a:lnTo>
                      <a:pt x="8676" y="11917"/>
                    </a:lnTo>
                    <a:lnTo>
                      <a:pt x="9101" y="10556"/>
                    </a:lnTo>
                    <a:lnTo>
                      <a:pt x="9341" y="9449"/>
                    </a:lnTo>
                    <a:cubicBezTo>
                      <a:pt x="9341" y="9449"/>
                      <a:pt x="10502" y="9883"/>
                      <a:pt x="10502" y="10156"/>
                    </a:cubicBezTo>
                    <a:cubicBezTo>
                      <a:pt x="10502" y="10430"/>
                      <a:pt x="9119" y="12290"/>
                      <a:pt x="8942" y="12664"/>
                    </a:cubicBezTo>
                    <a:cubicBezTo>
                      <a:pt x="8765" y="13039"/>
                      <a:pt x="8340" y="13752"/>
                      <a:pt x="8340" y="14311"/>
                    </a:cubicBezTo>
                    <a:cubicBezTo>
                      <a:pt x="8340" y="14869"/>
                      <a:pt x="8690" y="15154"/>
                      <a:pt x="8690" y="15154"/>
                    </a:cubicBezTo>
                    <a:lnTo>
                      <a:pt x="9962" y="12706"/>
                    </a:lnTo>
                    <a:lnTo>
                      <a:pt x="10871" y="11951"/>
                    </a:lnTo>
                    <a:cubicBezTo>
                      <a:pt x="10871" y="11951"/>
                      <a:pt x="11261" y="11655"/>
                      <a:pt x="11363" y="11381"/>
                    </a:cubicBezTo>
                    <a:cubicBezTo>
                      <a:pt x="11465" y="11107"/>
                      <a:pt x="12383" y="10067"/>
                      <a:pt x="12383" y="10067"/>
                    </a:cubicBezTo>
                    <a:lnTo>
                      <a:pt x="13513" y="7951"/>
                    </a:lnTo>
                    <a:cubicBezTo>
                      <a:pt x="13513" y="7951"/>
                      <a:pt x="13895" y="7143"/>
                      <a:pt x="13615" y="7143"/>
                    </a:cubicBezTo>
                    <a:cubicBezTo>
                      <a:pt x="13335" y="7143"/>
                      <a:pt x="11780" y="7001"/>
                      <a:pt x="11780" y="7001"/>
                    </a:cubicBezTo>
                    <a:lnTo>
                      <a:pt x="9905" y="6858"/>
                    </a:lnTo>
                    <a:cubicBezTo>
                      <a:pt x="9905" y="6858"/>
                      <a:pt x="10579" y="1214"/>
                      <a:pt x="11177" y="607"/>
                    </a:cubicBezTo>
                    <a:cubicBezTo>
                      <a:pt x="11776" y="0"/>
                      <a:pt x="12051" y="0"/>
                      <a:pt x="12051" y="0"/>
                    </a:cubicBezTo>
                    <a:lnTo>
                      <a:pt x="11838" y="1213"/>
                    </a:lnTo>
                    <a:lnTo>
                      <a:pt x="12259" y="1629"/>
                    </a:lnTo>
                    <a:lnTo>
                      <a:pt x="12751" y="1107"/>
                    </a:lnTo>
                    <a:lnTo>
                      <a:pt x="13177" y="114"/>
                    </a:lnTo>
                    <a:lnTo>
                      <a:pt x="13696" y="399"/>
                    </a:lnTo>
                    <a:lnTo>
                      <a:pt x="14507" y="263"/>
                    </a:lnTo>
                    <a:lnTo>
                      <a:pt x="13881" y="1565"/>
                    </a:lnTo>
                    <a:lnTo>
                      <a:pt x="14369" y="1939"/>
                    </a:lnTo>
                    <a:lnTo>
                      <a:pt x="14157" y="3027"/>
                    </a:lnTo>
                    <a:lnTo>
                      <a:pt x="13452" y="3918"/>
                    </a:lnTo>
                    <a:lnTo>
                      <a:pt x="13554" y="5054"/>
                    </a:lnTo>
                    <a:lnTo>
                      <a:pt x="14073" y="4769"/>
                    </a:lnTo>
                    <a:lnTo>
                      <a:pt x="14774" y="3206"/>
                    </a:lnTo>
                    <a:lnTo>
                      <a:pt x="15053" y="4383"/>
                    </a:lnTo>
                    <a:lnTo>
                      <a:pt x="14521" y="6510"/>
                    </a:lnTo>
                    <a:lnTo>
                      <a:pt x="13435" y="9482"/>
                    </a:lnTo>
                    <a:lnTo>
                      <a:pt x="13151" y="11122"/>
                    </a:lnTo>
                    <a:lnTo>
                      <a:pt x="13045" y="12875"/>
                    </a:lnTo>
                    <a:lnTo>
                      <a:pt x="14774" y="11788"/>
                    </a:lnTo>
                    <a:lnTo>
                      <a:pt x="14774" y="10659"/>
                    </a:lnTo>
                    <a:lnTo>
                      <a:pt x="15341" y="8995"/>
                    </a:lnTo>
                    <a:lnTo>
                      <a:pt x="16041" y="8097"/>
                    </a:lnTo>
                    <a:lnTo>
                      <a:pt x="16321" y="7105"/>
                    </a:lnTo>
                    <a:lnTo>
                      <a:pt x="17451" y="5839"/>
                    </a:lnTo>
                    <a:lnTo>
                      <a:pt x="18404" y="6831"/>
                    </a:lnTo>
                    <a:cubicBezTo>
                      <a:pt x="18404" y="6831"/>
                      <a:pt x="18931" y="8447"/>
                      <a:pt x="18829" y="8864"/>
                    </a:cubicBezTo>
                    <a:cubicBezTo>
                      <a:pt x="18727" y="9280"/>
                      <a:pt x="18231" y="10314"/>
                      <a:pt x="18231" y="10314"/>
                    </a:cubicBezTo>
                    <a:cubicBezTo>
                      <a:pt x="18231" y="10314"/>
                      <a:pt x="18443" y="11544"/>
                      <a:pt x="18443" y="11824"/>
                    </a:cubicBezTo>
                    <a:cubicBezTo>
                      <a:pt x="18443" y="12103"/>
                      <a:pt x="18337" y="13417"/>
                      <a:pt x="18337" y="13417"/>
                    </a:cubicBezTo>
                    <a:lnTo>
                      <a:pt x="18762" y="14451"/>
                    </a:lnTo>
                    <a:lnTo>
                      <a:pt x="19081" y="15824"/>
                    </a:lnTo>
                    <a:lnTo>
                      <a:pt x="19959" y="15729"/>
                    </a:lnTo>
                    <a:lnTo>
                      <a:pt x="19959" y="14505"/>
                    </a:lnTo>
                    <a:cubicBezTo>
                      <a:pt x="19959" y="14505"/>
                      <a:pt x="19006" y="13216"/>
                      <a:pt x="19006" y="12942"/>
                    </a:cubicBezTo>
                    <a:cubicBezTo>
                      <a:pt x="19006" y="12668"/>
                      <a:pt x="19499" y="12383"/>
                      <a:pt x="19499" y="12383"/>
                    </a:cubicBezTo>
                    <a:cubicBezTo>
                      <a:pt x="19499" y="12383"/>
                      <a:pt x="20261" y="11592"/>
                      <a:pt x="19880" y="11497"/>
                    </a:cubicBezTo>
                    <a:cubicBezTo>
                      <a:pt x="19499" y="11402"/>
                      <a:pt x="18789" y="10868"/>
                      <a:pt x="18789" y="10594"/>
                    </a:cubicBezTo>
                    <a:cubicBezTo>
                      <a:pt x="18789" y="10320"/>
                      <a:pt x="19742" y="9755"/>
                      <a:pt x="19742" y="9755"/>
                    </a:cubicBezTo>
                    <a:lnTo>
                      <a:pt x="20682" y="10320"/>
                    </a:lnTo>
                    <a:lnTo>
                      <a:pt x="21139" y="9666"/>
                    </a:lnTo>
                    <a:lnTo>
                      <a:pt x="21210" y="13558"/>
                    </a:lnTo>
                    <a:cubicBezTo>
                      <a:pt x="21210" y="13558"/>
                      <a:pt x="21600" y="16219"/>
                      <a:pt x="21600" y="16499"/>
                    </a:cubicBezTo>
                    <a:cubicBezTo>
                      <a:pt x="21600" y="16778"/>
                      <a:pt x="21600" y="20385"/>
                      <a:pt x="21600" y="20385"/>
                    </a:cubicBezTo>
                    <a:lnTo>
                      <a:pt x="21277" y="2160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62" name="Shape 662"/>
              <p:cNvSpPr/>
              <p:nvPr/>
            </p:nvSpPr>
            <p:spPr>
              <a:xfrm>
                <a:off x="4290569" y="402592"/>
                <a:ext cx="532472" cy="15548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314" y="0"/>
                    </a:moveTo>
                    <a:lnTo>
                      <a:pt x="12196" y="5397"/>
                    </a:lnTo>
                    <a:lnTo>
                      <a:pt x="16312" y="8504"/>
                    </a:lnTo>
                    <a:lnTo>
                      <a:pt x="21600" y="12014"/>
                    </a:lnTo>
                    <a:lnTo>
                      <a:pt x="21600" y="16014"/>
                    </a:lnTo>
                    <a:lnTo>
                      <a:pt x="16312" y="19523"/>
                    </a:lnTo>
                    <a:lnTo>
                      <a:pt x="11645" y="21600"/>
                    </a:lnTo>
                    <a:lnTo>
                      <a:pt x="9037" y="19813"/>
                    </a:lnTo>
                    <a:lnTo>
                      <a:pt x="14289" y="16002"/>
                    </a:lnTo>
                    <a:cubicBezTo>
                      <a:pt x="14289" y="16002"/>
                      <a:pt x="15171" y="13977"/>
                      <a:pt x="15171" y="13386"/>
                    </a:cubicBezTo>
                    <a:cubicBezTo>
                      <a:pt x="15171" y="12795"/>
                      <a:pt x="12563" y="11586"/>
                      <a:pt x="12563" y="10995"/>
                    </a:cubicBezTo>
                    <a:cubicBezTo>
                      <a:pt x="12563" y="10404"/>
                      <a:pt x="4958" y="10493"/>
                      <a:pt x="4958" y="8291"/>
                    </a:cubicBezTo>
                    <a:cubicBezTo>
                      <a:pt x="4958" y="6090"/>
                      <a:pt x="4079" y="4693"/>
                      <a:pt x="4079" y="4693"/>
                    </a:cubicBezTo>
                    <a:lnTo>
                      <a:pt x="0" y="1611"/>
                    </a:lnTo>
                    <a:lnTo>
                      <a:pt x="2314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63" name="Shape 663"/>
              <p:cNvSpPr/>
              <p:nvPr/>
            </p:nvSpPr>
            <p:spPr>
              <a:xfrm>
                <a:off x="4201918" y="1263671"/>
                <a:ext cx="287951" cy="71441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928" y="655"/>
                    </a:moveTo>
                    <a:lnTo>
                      <a:pt x="21600" y="0"/>
                    </a:lnTo>
                    <a:lnTo>
                      <a:pt x="21600" y="6954"/>
                    </a:lnTo>
                    <a:lnTo>
                      <a:pt x="13997" y="21600"/>
                    </a:lnTo>
                    <a:lnTo>
                      <a:pt x="0" y="17851"/>
                    </a:lnTo>
                    <a:lnTo>
                      <a:pt x="1626" y="2821"/>
                    </a:lnTo>
                    <a:lnTo>
                      <a:pt x="5366" y="13251"/>
                    </a:lnTo>
                    <a:lnTo>
                      <a:pt x="11210" y="7225"/>
                    </a:lnTo>
                    <a:lnTo>
                      <a:pt x="10928" y="655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64" name="Shape 664"/>
              <p:cNvSpPr/>
              <p:nvPr/>
            </p:nvSpPr>
            <p:spPr>
              <a:xfrm>
                <a:off x="3626589" y="228551"/>
                <a:ext cx="337735" cy="99886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278" y="0"/>
                    </a:moveTo>
                    <a:lnTo>
                      <a:pt x="13893" y="7460"/>
                    </a:lnTo>
                    <a:lnTo>
                      <a:pt x="12501" y="12279"/>
                    </a:lnTo>
                    <a:lnTo>
                      <a:pt x="20266" y="14434"/>
                    </a:lnTo>
                    <a:lnTo>
                      <a:pt x="21600" y="21600"/>
                    </a:lnTo>
                    <a:lnTo>
                      <a:pt x="11412" y="17565"/>
                    </a:lnTo>
                    <a:lnTo>
                      <a:pt x="3075" y="12260"/>
                    </a:lnTo>
                    <a:lnTo>
                      <a:pt x="7243" y="7737"/>
                    </a:lnTo>
                    <a:lnTo>
                      <a:pt x="0" y="4974"/>
                    </a:lnTo>
                    <a:lnTo>
                      <a:pt x="4278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65" name="Shape 665"/>
              <p:cNvSpPr/>
              <p:nvPr/>
            </p:nvSpPr>
            <p:spPr>
              <a:xfrm>
                <a:off x="3002779" y="451887"/>
                <a:ext cx="1022655" cy="14091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5986" y="4859"/>
                    </a:moveTo>
                    <a:lnTo>
                      <a:pt x="6884" y="0"/>
                    </a:lnTo>
                    <a:lnTo>
                      <a:pt x="9754" y="5387"/>
                    </a:lnTo>
                    <a:lnTo>
                      <a:pt x="9295" y="10037"/>
                    </a:lnTo>
                    <a:lnTo>
                      <a:pt x="11895" y="12022"/>
                    </a:lnTo>
                    <a:lnTo>
                      <a:pt x="14136" y="8150"/>
                    </a:lnTo>
                    <a:lnTo>
                      <a:pt x="16394" y="11217"/>
                    </a:lnTo>
                    <a:lnTo>
                      <a:pt x="16394" y="14522"/>
                    </a:lnTo>
                    <a:lnTo>
                      <a:pt x="19361" y="14842"/>
                    </a:lnTo>
                    <a:lnTo>
                      <a:pt x="21600" y="14189"/>
                    </a:lnTo>
                    <a:lnTo>
                      <a:pt x="21600" y="18922"/>
                    </a:lnTo>
                    <a:lnTo>
                      <a:pt x="20665" y="21600"/>
                    </a:lnTo>
                    <a:lnTo>
                      <a:pt x="16571" y="19713"/>
                    </a:lnTo>
                    <a:lnTo>
                      <a:pt x="12764" y="15104"/>
                    </a:lnTo>
                    <a:lnTo>
                      <a:pt x="9032" y="12590"/>
                    </a:lnTo>
                    <a:lnTo>
                      <a:pt x="5856" y="8659"/>
                    </a:lnTo>
                    <a:lnTo>
                      <a:pt x="900" y="7451"/>
                    </a:lnTo>
                    <a:lnTo>
                      <a:pt x="0" y="3691"/>
                    </a:lnTo>
                    <a:lnTo>
                      <a:pt x="2564" y="1065"/>
                    </a:lnTo>
                    <a:lnTo>
                      <a:pt x="5986" y="4859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66" name="Shape 666"/>
              <p:cNvSpPr/>
              <p:nvPr/>
            </p:nvSpPr>
            <p:spPr>
              <a:xfrm>
                <a:off x="3073503" y="1150659"/>
                <a:ext cx="472830" cy="88389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211" y="2479"/>
                    </a:lnTo>
                    <a:lnTo>
                      <a:pt x="17707" y="8610"/>
                    </a:lnTo>
                    <a:lnTo>
                      <a:pt x="21600" y="13835"/>
                    </a:lnTo>
                    <a:lnTo>
                      <a:pt x="15023" y="16821"/>
                    </a:lnTo>
                    <a:lnTo>
                      <a:pt x="7452" y="21600"/>
                    </a:lnTo>
                    <a:lnTo>
                      <a:pt x="7452" y="15979"/>
                    </a:lnTo>
                    <a:lnTo>
                      <a:pt x="11673" y="13231"/>
                    </a:lnTo>
                    <a:lnTo>
                      <a:pt x="10020" y="6302"/>
                    </a:lnTo>
                    <a:lnTo>
                      <a:pt x="2278" y="386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67" name="Shape 667"/>
              <p:cNvSpPr/>
              <p:nvPr/>
            </p:nvSpPr>
            <p:spPr>
              <a:xfrm>
                <a:off x="5429984" y="858635"/>
                <a:ext cx="352237" cy="7796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324" y="0"/>
                    </a:moveTo>
                    <a:lnTo>
                      <a:pt x="21600" y="9985"/>
                    </a:lnTo>
                    <a:lnTo>
                      <a:pt x="17603" y="21600"/>
                    </a:lnTo>
                    <a:lnTo>
                      <a:pt x="12276" y="12121"/>
                    </a:lnTo>
                    <a:lnTo>
                      <a:pt x="6056" y="20124"/>
                    </a:lnTo>
                    <a:lnTo>
                      <a:pt x="2168" y="16986"/>
                    </a:lnTo>
                    <a:lnTo>
                      <a:pt x="0" y="5371"/>
                    </a:lnTo>
                    <a:lnTo>
                      <a:pt x="7780" y="7554"/>
                    </a:lnTo>
                    <a:lnTo>
                      <a:pt x="16324" y="0"/>
                    </a:lnTo>
                    <a:close/>
                  </a:path>
                </a:pathLst>
              </a:custGeom>
              <a:solidFill>
                <a:schemeClr val="bg1"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68" name="Shape 668"/>
              <p:cNvSpPr/>
              <p:nvPr/>
            </p:nvSpPr>
            <p:spPr>
              <a:xfrm>
                <a:off x="5437728" y="1958695"/>
                <a:ext cx="191882" cy="28966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7589" h="21600" extrusionOk="0">
                    <a:moveTo>
                      <a:pt x="5796" y="0"/>
                    </a:moveTo>
                    <a:cubicBezTo>
                      <a:pt x="5796" y="0"/>
                      <a:pt x="-4011" y="16745"/>
                      <a:pt x="1889" y="18362"/>
                    </a:cubicBezTo>
                    <a:cubicBezTo>
                      <a:pt x="7790" y="19978"/>
                      <a:pt x="13683" y="21600"/>
                      <a:pt x="13683" y="21600"/>
                    </a:cubicBezTo>
                    <a:lnTo>
                      <a:pt x="17589" y="10931"/>
                    </a:lnTo>
                    <a:lnTo>
                      <a:pt x="5796" y="0"/>
                    </a:lnTo>
                    <a:close/>
                  </a:path>
                </a:pathLst>
              </a:custGeom>
              <a:solidFill>
                <a:schemeClr val="bg1"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69" name="Shape 669"/>
              <p:cNvSpPr/>
              <p:nvPr/>
            </p:nvSpPr>
            <p:spPr>
              <a:xfrm>
                <a:off x="6212760" y="1350855"/>
                <a:ext cx="413104" cy="6330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829"/>
                    </a:moveTo>
                    <a:lnTo>
                      <a:pt x="21600" y="21600"/>
                    </a:lnTo>
                    <a:lnTo>
                      <a:pt x="8346" y="0"/>
                    </a:lnTo>
                    <a:lnTo>
                      <a:pt x="0" y="1829"/>
                    </a:lnTo>
                    <a:close/>
                  </a:path>
                </a:pathLst>
              </a:custGeom>
              <a:solidFill>
                <a:schemeClr val="bg1"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70" name="Shape 670"/>
              <p:cNvSpPr/>
              <p:nvPr/>
            </p:nvSpPr>
            <p:spPr>
              <a:xfrm>
                <a:off x="7953009" y="3025674"/>
                <a:ext cx="803390" cy="103683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013" y="3264"/>
                    </a:moveTo>
                    <a:lnTo>
                      <a:pt x="6013" y="0"/>
                    </a:lnTo>
                    <a:lnTo>
                      <a:pt x="0" y="0"/>
                    </a:lnTo>
                    <a:lnTo>
                      <a:pt x="0" y="7810"/>
                    </a:lnTo>
                    <a:lnTo>
                      <a:pt x="1168" y="13809"/>
                    </a:lnTo>
                    <a:lnTo>
                      <a:pt x="7525" y="18636"/>
                    </a:lnTo>
                    <a:lnTo>
                      <a:pt x="11302" y="21600"/>
                    </a:lnTo>
                    <a:lnTo>
                      <a:pt x="18336" y="20561"/>
                    </a:lnTo>
                    <a:lnTo>
                      <a:pt x="21015" y="18034"/>
                    </a:lnTo>
                    <a:lnTo>
                      <a:pt x="21600" y="12789"/>
                    </a:lnTo>
                    <a:lnTo>
                      <a:pt x="20042" y="7525"/>
                    </a:lnTo>
                    <a:lnTo>
                      <a:pt x="18312" y="14961"/>
                    </a:lnTo>
                    <a:lnTo>
                      <a:pt x="16754" y="17604"/>
                    </a:lnTo>
                    <a:lnTo>
                      <a:pt x="15587" y="10531"/>
                    </a:lnTo>
                    <a:lnTo>
                      <a:pt x="12734" y="7550"/>
                    </a:lnTo>
                    <a:lnTo>
                      <a:pt x="8086" y="11605"/>
                    </a:lnTo>
                    <a:lnTo>
                      <a:pt x="5967" y="9983"/>
                    </a:lnTo>
                    <a:lnTo>
                      <a:pt x="11543" y="3868"/>
                    </a:lnTo>
                    <a:lnTo>
                      <a:pt x="8498" y="1944"/>
                    </a:lnTo>
                    <a:lnTo>
                      <a:pt x="6013" y="3264"/>
                    </a:lnTo>
                    <a:close/>
                  </a:path>
                </a:pathLst>
              </a:custGeom>
              <a:solidFill>
                <a:schemeClr val="bg1"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71" name="Shape 671"/>
              <p:cNvSpPr/>
              <p:nvPr/>
            </p:nvSpPr>
            <p:spPr>
              <a:xfrm>
                <a:off x="8630677" y="3047103"/>
                <a:ext cx="436568" cy="94093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1780" y="7588"/>
                    </a:lnTo>
                    <a:lnTo>
                      <a:pt x="12856" y="15861"/>
                    </a:lnTo>
                    <a:lnTo>
                      <a:pt x="13888" y="21102"/>
                    </a:lnTo>
                    <a:lnTo>
                      <a:pt x="20524" y="21600"/>
                    </a:lnTo>
                    <a:cubicBezTo>
                      <a:pt x="20524" y="21600"/>
                      <a:pt x="21600" y="15450"/>
                      <a:pt x="21600" y="13993"/>
                    </a:cubicBezTo>
                    <a:cubicBezTo>
                      <a:pt x="21600" y="12536"/>
                      <a:pt x="21600" y="6404"/>
                      <a:pt x="21600" y="6404"/>
                    </a:cubicBezTo>
                    <a:lnTo>
                      <a:pt x="15150" y="3432"/>
                    </a:lnTo>
                    <a:lnTo>
                      <a:pt x="8829" y="24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  <p:sp>
            <p:nvSpPr>
              <p:cNvPr id="672" name="Shape 672"/>
              <p:cNvSpPr/>
              <p:nvPr/>
            </p:nvSpPr>
            <p:spPr>
              <a:xfrm>
                <a:off x="5874945" y="1012795"/>
                <a:ext cx="281922" cy="8711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4994" y="0"/>
                    </a:moveTo>
                    <a:lnTo>
                      <a:pt x="0" y="15424"/>
                    </a:lnTo>
                    <a:lnTo>
                      <a:pt x="10769" y="16501"/>
                    </a:lnTo>
                    <a:lnTo>
                      <a:pt x="10144" y="21600"/>
                    </a:lnTo>
                    <a:lnTo>
                      <a:pt x="21600" y="20523"/>
                    </a:lnTo>
                    <a:lnTo>
                      <a:pt x="10925" y="9411"/>
                    </a:lnTo>
                    <a:lnTo>
                      <a:pt x="4994" y="0"/>
                    </a:lnTo>
                    <a:close/>
                  </a:path>
                </a:pathLst>
              </a:custGeom>
              <a:solidFill>
                <a:schemeClr val="bg1">
                  <a:alpha val="60000"/>
                </a:schemeClr>
              </a:solidFill>
              <a:ln w="25400" cap="flat">
                <a:solidFill>
                  <a:srgbClr val="000000">
                    <a:alpha val="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lvl="0"/>
                <a:endParaRPr sz="900" dirty="0">
                  <a:latin typeface="+mj-lt"/>
                  <a:cs typeface="等线" panose="02010600030101010101" charset="-122"/>
                </a:endParaRPr>
              </a:p>
            </p:txBody>
          </p:sp>
        </p:grpSp>
        <p:sp>
          <p:nvSpPr>
            <p:cNvPr id="674" name="Shape 674"/>
            <p:cNvSpPr/>
            <p:nvPr/>
          </p:nvSpPr>
          <p:spPr>
            <a:xfrm>
              <a:off x="4514313" y="2381641"/>
              <a:ext cx="3276601" cy="19177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16" y="11035"/>
                  </a:moveTo>
                  <a:lnTo>
                    <a:pt x="309" y="21600"/>
                  </a:lnTo>
                  <a:lnTo>
                    <a:pt x="2131" y="21355"/>
                  </a:lnTo>
                  <a:cubicBezTo>
                    <a:pt x="2131" y="21355"/>
                    <a:pt x="4206" y="20144"/>
                    <a:pt x="4505" y="20144"/>
                  </a:cubicBezTo>
                  <a:cubicBezTo>
                    <a:pt x="4805" y="20144"/>
                    <a:pt x="8166" y="20144"/>
                    <a:pt x="8166" y="20144"/>
                  </a:cubicBezTo>
                  <a:lnTo>
                    <a:pt x="11012" y="20389"/>
                  </a:lnTo>
                  <a:lnTo>
                    <a:pt x="14756" y="20155"/>
                  </a:lnTo>
                  <a:lnTo>
                    <a:pt x="17188" y="19910"/>
                  </a:lnTo>
                  <a:lnTo>
                    <a:pt x="20084" y="19665"/>
                  </a:lnTo>
                  <a:lnTo>
                    <a:pt x="20084" y="18454"/>
                  </a:lnTo>
                  <a:lnTo>
                    <a:pt x="21600" y="16673"/>
                  </a:lnTo>
                  <a:lnTo>
                    <a:pt x="20683" y="13598"/>
                  </a:lnTo>
                  <a:lnTo>
                    <a:pt x="18149" y="9536"/>
                  </a:lnTo>
                  <a:lnTo>
                    <a:pt x="18862" y="14412"/>
                  </a:lnTo>
                  <a:lnTo>
                    <a:pt x="19505" y="15360"/>
                  </a:lnTo>
                  <a:lnTo>
                    <a:pt x="18793" y="16969"/>
                  </a:lnTo>
                  <a:lnTo>
                    <a:pt x="17888" y="16633"/>
                  </a:lnTo>
                  <a:lnTo>
                    <a:pt x="16825" y="15259"/>
                  </a:lnTo>
                  <a:lnTo>
                    <a:pt x="15762" y="16236"/>
                  </a:lnTo>
                  <a:lnTo>
                    <a:pt x="15310" y="17213"/>
                  </a:lnTo>
                  <a:lnTo>
                    <a:pt x="12865" y="17295"/>
                  </a:lnTo>
                  <a:cubicBezTo>
                    <a:pt x="12865" y="17295"/>
                    <a:pt x="12521" y="15656"/>
                    <a:pt x="12967" y="15187"/>
                  </a:cubicBezTo>
                  <a:cubicBezTo>
                    <a:pt x="13413" y="14718"/>
                    <a:pt x="14285" y="14240"/>
                    <a:pt x="14686" y="14240"/>
                  </a:cubicBezTo>
                  <a:cubicBezTo>
                    <a:pt x="15088" y="14240"/>
                    <a:pt x="15699" y="13099"/>
                    <a:pt x="15699" y="13099"/>
                  </a:cubicBezTo>
                  <a:lnTo>
                    <a:pt x="15546" y="11236"/>
                  </a:lnTo>
                  <a:lnTo>
                    <a:pt x="12949" y="10748"/>
                  </a:lnTo>
                  <a:lnTo>
                    <a:pt x="12796" y="8875"/>
                  </a:lnTo>
                  <a:lnTo>
                    <a:pt x="11020" y="7908"/>
                  </a:lnTo>
                  <a:cubicBezTo>
                    <a:pt x="11020" y="7908"/>
                    <a:pt x="11166" y="8693"/>
                    <a:pt x="11313" y="9100"/>
                  </a:cubicBezTo>
                  <a:cubicBezTo>
                    <a:pt x="11460" y="9507"/>
                    <a:pt x="11912" y="12907"/>
                    <a:pt x="11912" y="12907"/>
                  </a:cubicBezTo>
                  <a:lnTo>
                    <a:pt x="11453" y="16298"/>
                  </a:lnTo>
                  <a:lnTo>
                    <a:pt x="10129" y="17418"/>
                  </a:lnTo>
                  <a:cubicBezTo>
                    <a:pt x="10129" y="17418"/>
                    <a:pt x="9524" y="17390"/>
                    <a:pt x="9524" y="16197"/>
                  </a:cubicBezTo>
                  <a:cubicBezTo>
                    <a:pt x="9524" y="15005"/>
                    <a:pt x="9524" y="14272"/>
                    <a:pt x="9524" y="14272"/>
                  </a:cubicBezTo>
                  <a:cubicBezTo>
                    <a:pt x="9524" y="14272"/>
                    <a:pt x="8754" y="13549"/>
                    <a:pt x="8149" y="13549"/>
                  </a:cubicBezTo>
                  <a:cubicBezTo>
                    <a:pt x="8149" y="13549"/>
                    <a:pt x="7245" y="11758"/>
                    <a:pt x="7092" y="11116"/>
                  </a:cubicBezTo>
                  <a:cubicBezTo>
                    <a:pt x="6940" y="10474"/>
                    <a:pt x="6679" y="9569"/>
                    <a:pt x="6227" y="8602"/>
                  </a:cubicBezTo>
                  <a:cubicBezTo>
                    <a:pt x="5775" y="7634"/>
                    <a:pt x="5316" y="6648"/>
                    <a:pt x="5316" y="6169"/>
                  </a:cubicBezTo>
                  <a:cubicBezTo>
                    <a:pt x="5316" y="5689"/>
                    <a:pt x="5322" y="3267"/>
                    <a:pt x="4870" y="3267"/>
                  </a:cubicBezTo>
                  <a:cubicBezTo>
                    <a:pt x="4418" y="3267"/>
                    <a:pt x="2992" y="4162"/>
                    <a:pt x="2992" y="4162"/>
                  </a:cubicBezTo>
                  <a:lnTo>
                    <a:pt x="2178" y="5953"/>
                  </a:lnTo>
                  <a:lnTo>
                    <a:pt x="1222" y="5436"/>
                  </a:lnTo>
                  <a:lnTo>
                    <a:pt x="0" y="0"/>
                  </a:lnTo>
                  <a:lnTo>
                    <a:pt x="316" y="11035"/>
                  </a:lnTo>
                  <a:close/>
                </a:path>
              </a:pathLst>
            </a:custGeom>
            <a:solidFill>
              <a:schemeClr val="bg1">
                <a:alpha val="50000"/>
              </a:schemeClr>
            </a:solidFill>
            <a:ln w="25400" cap="flat">
              <a:solidFill>
                <a:srgbClr val="000000">
                  <a:alpha val="0"/>
                </a:srgbClr>
              </a:solidFill>
              <a:prstDash val="solid"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/>
              <a:endParaRPr sz="900" dirty="0">
                <a:latin typeface="+mj-lt"/>
                <a:cs typeface="等线" panose="02010600030101010101" charset="-122"/>
              </a:endParaRPr>
            </a:p>
          </p:txBody>
        </p:sp>
      </p:grpSp>
      <p:sp>
        <p:nvSpPr>
          <p:cNvPr id="679" name="Shape 67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540241" y="3125726"/>
            <a:ext cx="3213434" cy="4498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701" h="16978" extrusionOk="0">
                <a:moveTo>
                  <a:pt x="3161" y="0"/>
                </a:moveTo>
                <a:cubicBezTo>
                  <a:pt x="3161" y="0"/>
                  <a:pt x="-1421" y="5515"/>
                  <a:pt x="6377" y="10491"/>
                </a:cubicBezTo>
                <a:cubicBezTo>
                  <a:pt x="14175" y="15467"/>
                  <a:pt x="19701" y="12322"/>
                  <a:pt x="19701" y="12322"/>
                </a:cubicBezTo>
                <a:cubicBezTo>
                  <a:pt x="19701" y="12322"/>
                  <a:pt x="6838" y="21600"/>
                  <a:pt x="2470" y="13963"/>
                </a:cubicBezTo>
                <a:cubicBezTo>
                  <a:pt x="-1899" y="6326"/>
                  <a:pt x="295" y="1072"/>
                  <a:pt x="3161" y="0"/>
                </a:cubicBezTo>
                <a:close/>
              </a:path>
            </a:pathLst>
          </a:custGeom>
          <a:solidFill>
            <a:schemeClr val="bg1">
              <a:lumMod val="95000"/>
              <a:alpha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solidFill>
                <a:schemeClr val="tx2">
                  <a:lumMod val="75000"/>
                </a:schemeClr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680" name="Shape 68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034446" y="3195781"/>
            <a:ext cx="3581401" cy="4889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8903" h="20158" extrusionOk="0">
                <a:moveTo>
                  <a:pt x="7" y="20157"/>
                </a:moveTo>
                <a:cubicBezTo>
                  <a:pt x="-396" y="20298"/>
                  <a:pt x="18426" y="9937"/>
                  <a:pt x="17517" y="4317"/>
                </a:cubicBezTo>
                <a:cubicBezTo>
                  <a:pt x="16607" y="-1302"/>
                  <a:pt x="16548" y="176"/>
                  <a:pt x="16548" y="176"/>
                </a:cubicBezTo>
                <a:cubicBezTo>
                  <a:pt x="16548" y="176"/>
                  <a:pt x="18797" y="575"/>
                  <a:pt x="18816" y="3608"/>
                </a:cubicBezTo>
                <a:cubicBezTo>
                  <a:pt x="18835" y="6642"/>
                  <a:pt x="21204" y="12710"/>
                  <a:pt x="7" y="20157"/>
                </a:cubicBezTo>
                <a:close/>
              </a:path>
            </a:pathLst>
          </a:custGeom>
          <a:solidFill>
            <a:schemeClr val="bg1">
              <a:lumMod val="95000"/>
              <a:alpha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solidFill>
                <a:schemeClr val="tx2">
                  <a:lumMod val="75000"/>
                </a:schemeClr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681" name="Shape 68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022708" y="3715964"/>
            <a:ext cx="3530526" cy="2084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66" h="11685" extrusionOk="0">
                <a:moveTo>
                  <a:pt x="12" y="6066"/>
                </a:moveTo>
                <a:cubicBezTo>
                  <a:pt x="-334" y="5624"/>
                  <a:pt x="7152" y="10914"/>
                  <a:pt x="13688" y="6066"/>
                </a:cubicBezTo>
                <a:cubicBezTo>
                  <a:pt x="20224" y="1217"/>
                  <a:pt x="21266" y="0"/>
                  <a:pt x="21266" y="0"/>
                </a:cubicBezTo>
                <a:cubicBezTo>
                  <a:pt x="21266" y="0"/>
                  <a:pt x="12181" y="21600"/>
                  <a:pt x="12" y="6066"/>
                </a:cubicBezTo>
                <a:close/>
              </a:path>
            </a:pathLst>
          </a:custGeom>
          <a:solidFill>
            <a:schemeClr val="bg1">
              <a:lumMod val="95000"/>
              <a:alpha val="4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/>
            <a:endParaRPr sz="900" dirty="0">
              <a:solidFill>
                <a:schemeClr val="tx2">
                  <a:lumMod val="75000"/>
                </a:schemeClr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682" name="Shape 68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32532" y="259329"/>
            <a:ext cx="2827697" cy="605294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 algn="l">
              <a:defRPr sz="4000" b="1">
                <a:solidFill>
                  <a:srgbClr val="606060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The Iceberg </a:t>
            </a:r>
          </a:p>
        </p:txBody>
      </p:sp>
      <p:sp>
        <p:nvSpPr>
          <p:cNvPr id="684" name="Shape 68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24634" y="2067683"/>
            <a:ext cx="5471130" cy="2"/>
          </a:xfrm>
          <a:prstGeom prst="line">
            <a:avLst/>
          </a:prstGeom>
          <a:ln w="25400">
            <a:solidFill>
              <a:schemeClr val="tx1">
                <a:lumMod val="50000"/>
                <a:lumOff val="5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 dirty="0">
              <a:solidFill>
                <a:schemeClr val="tx2">
                  <a:lumMod val="75000"/>
                </a:schemeClr>
              </a:solidFill>
              <a:latin typeface="+mj-lt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640" name="Shape 64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0" y="3067050"/>
            <a:ext cx="12185650" cy="3949700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  <a:alpha val="50000"/>
                </a:schemeClr>
              </a:gs>
              <a:gs pos="100000">
                <a:schemeClr val="accent1">
                  <a:alpha val="50000"/>
                </a:schemeClr>
              </a:gs>
            </a:gsLst>
            <a:lin ang="5400000"/>
          </a:gra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solidFill>
                <a:schemeClr val="tx2">
                  <a:lumMod val="75000"/>
                </a:schemeClr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658" name="Shape 65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88999" y="3758684"/>
            <a:ext cx="4808415" cy="362984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/>
          <a:p>
            <a:pPr lvl="0" algn="l">
              <a:lnSpc>
                <a:spcPct val="70000"/>
              </a:lnSpc>
              <a:defRPr sz="1800"/>
            </a:pPr>
            <a:r>
              <a:rPr sz="2800" b="1" dirty="0">
                <a:solidFill>
                  <a:schemeClr val="tx2">
                    <a:lumMod val="7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What's </a:t>
            </a:r>
            <a:r>
              <a:rPr sz="2800" dirty="0">
                <a:solidFill>
                  <a:schemeClr val="tx2">
                    <a:lumMod val="7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the </a:t>
            </a:r>
            <a:r>
              <a:rPr sz="2800" dirty="0" err="1">
                <a:solidFill>
                  <a:schemeClr val="tx2">
                    <a:lumMod val="7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realproblem</a:t>
            </a:r>
            <a:endParaRPr sz="2800" dirty="0">
              <a:solidFill>
                <a:schemeClr val="tx2">
                  <a:lumMod val="75000"/>
                </a:schemeClr>
              </a:solidFill>
              <a:latin typeface="+mj-lt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pic>
        <p:nvPicPr>
          <p:cNvPr id="676" name="Picture 67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505" y="4447308"/>
            <a:ext cx="717059" cy="500042"/>
          </a:xfrm>
          <a:prstGeom prst="rect">
            <a:avLst/>
          </a:prstGeom>
        </p:spPr>
      </p:pic>
      <p:sp>
        <p:nvSpPr>
          <p:cNvPr id="611" name="Shape 61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27100" y="4495800"/>
            <a:ext cx="5471130" cy="1"/>
          </a:xfrm>
          <a:prstGeom prst="line">
            <a:avLst/>
          </a:prstGeom>
          <a:solidFill>
            <a:srgbClr val="ADC6E2"/>
          </a:solidFill>
          <a:ln w="25400">
            <a:solidFill>
              <a:schemeClr val="tx1">
                <a:lumMod val="50000"/>
                <a:lumOff val="50000"/>
              </a:schemeClr>
            </a:solidFill>
            <a:custDash>
              <a:ds d="200000" sp="200000"/>
            </a:custDash>
            <a:miter lim="400000"/>
          </a:ln>
        </p:spPr>
        <p:txBody>
          <a:bodyPr lIns="0" tIns="0" rIns="0" bIns="0" anchor="ctr"/>
          <a:lstStyle/>
          <a:p>
            <a:pPr defTabSz="228600">
              <a:defRPr sz="1200">
                <a:latin typeface="Helvetica"/>
                <a:ea typeface="Helvetica"/>
                <a:cs typeface="Helvetica"/>
                <a:sym typeface="Helvetica"/>
              </a:defRPr>
            </a:pPr>
            <a:endParaRPr sz="600" dirty="0">
              <a:solidFill>
                <a:schemeClr val="tx2">
                  <a:lumMod val="75000"/>
                </a:schemeClr>
              </a:solidFill>
              <a:latin typeface="+mj-lt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76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1"/>
            </p:custDataLst>
          </p:nvPr>
        </p:nvSpPr>
        <p:spPr>
          <a:xfrm>
            <a:off x="774012" y="762180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sp>
        <p:nvSpPr>
          <p:cNvPr id="77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949017" y="2147116"/>
            <a:ext cx="4467046" cy="930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>
                <a:solidFill>
                  <a:schemeClr val="tx2">
                    <a:lumMod val="7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</a:t>
            </a:r>
          </a:p>
        </p:txBody>
      </p:sp>
      <p:sp>
        <p:nvSpPr>
          <p:cNvPr id="78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896264" y="4644132"/>
            <a:ext cx="5416614" cy="129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>
                <a:solidFill>
                  <a:schemeClr val="tx2">
                    <a:lumMod val="7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79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9735464" y="4743779"/>
            <a:ext cx="2274828" cy="1615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>
                <a:solidFill>
                  <a:schemeClr val="tx2">
                    <a:lumMod val="75000"/>
                  </a:schemeClr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</a:t>
            </a: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1050" y="1860550"/>
            <a:ext cx="3498850" cy="3873500"/>
          </a:xfrm>
        </p:spPr>
      </p:pic>
      <p:sp>
        <p:nvSpPr>
          <p:cNvPr id="575" name="Shape 57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426472" y="1872465"/>
            <a:ext cx="7009876" cy="161672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algn="ctr"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+mj-lt"/>
              <a:cs typeface="等线" panose="02010600030101010101" charset="-122"/>
            </a:endParaRPr>
          </a:p>
        </p:txBody>
      </p:sp>
      <p:graphicFrame>
        <p:nvGraphicFramePr>
          <p:cNvPr id="576" name="Table 57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aphicFramePr>
            <a:graphicFrameLocks noGrp="1"/>
          </p:cNvGraphicFramePr>
          <p:nvPr/>
        </p:nvGraphicFramePr>
        <p:xfrm>
          <a:off x="4419600" y="2863481"/>
          <a:ext cx="7016750" cy="2882484"/>
        </p:xfrm>
        <a:graphic>
          <a:graphicData uri="http://schemas.openxmlformats.org/drawingml/2006/table">
            <a:tbl>
              <a:tblPr/>
              <a:tblGrid>
                <a:gridCol w="2343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36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6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24160"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Specification</a:t>
                      </a: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L>
                    <a:lnR w="25400">
                      <a:solidFill>
                        <a:srgbClr val="C7CED6"/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Specification</a:t>
                      </a: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C7CED6"/>
                      </a:solidFill>
                      <a:miter lim="400000"/>
                    </a:lnL>
                    <a:lnR w="25400">
                      <a:solidFill>
                        <a:srgbClr val="C7CED6"/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b="1" dirty="0">
                          <a:solidFill>
                            <a:schemeClr val="bg1"/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Specification</a:t>
                      </a: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C7CED6"/>
                      </a:solidFill>
                      <a:miter lim="400000"/>
                    </a:lnL>
                    <a:lnR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984"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lorem ipsum</a:t>
                      </a: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L>
                    <a:lnR w="25400">
                      <a:solidFill>
                        <a:srgbClr val="C7CED6"/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constectura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diar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alor</a:t>
                      </a:r>
                      <a:endParaRPr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ea typeface="微软雅黑" panose="020B0503020204020204" pitchFamily="34" charset="-122"/>
                        <a:cs typeface="等线" panose="02010600030101010101" charset="-122"/>
                        <a:sym typeface="等线"/>
                      </a:endParaRP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C7CED6"/>
                      </a:solidFill>
                      <a:miter lim="400000"/>
                    </a:lnL>
                    <a:lnR w="25400">
                      <a:solidFill>
                        <a:srgbClr val="C7CED6"/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lorem ipsum</a:t>
                      </a: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C7CED6"/>
                      </a:solidFill>
                      <a:miter lim="400000"/>
                    </a:lnL>
                    <a:lnR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8346"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constectura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diar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alor</a:t>
                      </a:r>
                      <a:endParaRPr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ea typeface="微软雅黑" panose="020B0503020204020204" pitchFamily="34" charset="-122"/>
                        <a:cs typeface="等线" panose="02010600030101010101" charset="-122"/>
                        <a:sym typeface="等线"/>
                      </a:endParaRP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L>
                    <a:lnR w="25400">
                      <a:solidFill>
                        <a:srgbClr val="C7CED6"/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lorem ipsum</a:t>
                      </a: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C7CED6"/>
                      </a:solidFill>
                      <a:miter lim="400000"/>
                    </a:lnL>
                    <a:lnR w="25400">
                      <a:solidFill>
                        <a:srgbClr val="C7CED6"/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constectura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diar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alor</a:t>
                      </a:r>
                      <a:endParaRPr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ea typeface="微软雅黑" panose="020B0503020204020204" pitchFamily="34" charset="-122"/>
                        <a:cs typeface="等线" panose="02010600030101010101" charset="-122"/>
                        <a:sym typeface="等线"/>
                      </a:endParaRP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C7CED6"/>
                      </a:solidFill>
                      <a:miter lim="400000"/>
                    </a:lnL>
                    <a:lnR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6497"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lorem ipsum</a:t>
                      </a: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L>
                    <a:lnR w="25400">
                      <a:solidFill>
                        <a:srgbClr val="C7CED6"/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constectura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diar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alor</a:t>
                      </a:r>
                      <a:endParaRPr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ea typeface="微软雅黑" panose="020B0503020204020204" pitchFamily="34" charset="-122"/>
                        <a:cs typeface="等线" panose="02010600030101010101" charset="-122"/>
                        <a:sym typeface="等线"/>
                      </a:endParaRP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C7CED6"/>
                      </a:solidFill>
                      <a:miter lim="400000"/>
                    </a:lnL>
                    <a:lnR w="25400">
                      <a:solidFill>
                        <a:srgbClr val="C7CED6"/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lorem ipsum</a:t>
                      </a: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C7CED6"/>
                      </a:solidFill>
                      <a:miter lim="400000"/>
                    </a:lnL>
                    <a:lnR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C7CED6"/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6497"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constectura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diar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alor</a:t>
                      </a:r>
                      <a:endParaRPr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ea typeface="微软雅黑" panose="020B0503020204020204" pitchFamily="34" charset="-122"/>
                        <a:cs typeface="等线" panose="02010600030101010101" charset="-122"/>
                        <a:sym typeface="等线"/>
                      </a:endParaRP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L>
                    <a:lnR w="25400">
                      <a:solidFill>
                        <a:srgbClr val="C7CED6"/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lorem ipsum</a:t>
                      </a: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C7CED6"/>
                      </a:solidFill>
                      <a:miter lim="400000"/>
                    </a:lnL>
                    <a:lnR w="25400">
                      <a:solidFill>
                        <a:srgbClr val="C7CED6"/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B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 sz="1800"/>
                      </a:pP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constectura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diar</a:t>
                      </a:r>
                      <a:r>
                        <a:rPr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 </a:t>
                      </a:r>
                      <a:r>
                        <a:rPr sz="1200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j-lt"/>
                          <a:ea typeface="微软雅黑" panose="020B0503020204020204" pitchFamily="34" charset="-122"/>
                          <a:cs typeface="等线" panose="02010600030101010101" charset="-122"/>
                          <a:sym typeface="等线"/>
                        </a:rPr>
                        <a:t>alor</a:t>
                      </a:r>
                      <a:endParaRPr sz="12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j-lt"/>
                        <a:ea typeface="微软雅黑" panose="020B0503020204020204" pitchFamily="34" charset="-122"/>
                        <a:cs typeface="等线" panose="02010600030101010101" charset="-122"/>
                        <a:sym typeface="等线"/>
                      </a:endParaRPr>
                    </a:p>
                  </a:txBody>
                  <a:tcPr marL="31750" marR="31750" marT="31750" marB="31750" anchor="ctr" horzOverflow="overflow">
                    <a:lnL w="25400">
                      <a:solidFill>
                        <a:srgbClr val="C7CED6"/>
                      </a:solidFill>
                      <a:miter lim="400000"/>
                    </a:lnL>
                    <a:lnR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R>
                    <a:lnT w="25400">
                      <a:solidFill>
                        <a:srgbClr val="C7CED6"/>
                      </a:solidFill>
                      <a:miter lim="400000"/>
                    </a:lnT>
                    <a:lnB w="25400">
                      <a:solidFill>
                        <a:srgbClr val="000000">
                          <a:alpha val="0"/>
                        </a:srgbClr>
                      </a:solidFill>
                      <a:miter lim="400000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77" name="Shape 57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822950" y="2298778"/>
            <a:ext cx="4318000" cy="272895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>
            <a:lvl1pPr>
              <a:lnSpc>
                <a:spcPct val="80000"/>
              </a:lnSpc>
              <a:defRPr sz="3600">
                <a:solidFill>
                  <a:srgbClr val="444444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18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Specification Table</a:t>
            </a:r>
          </a:p>
        </p:txBody>
      </p:sp>
      <p:sp>
        <p:nvSpPr>
          <p:cNvPr id="578" name="Shape 57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14105" y="487930"/>
            <a:ext cx="2821285" cy="6052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25400" tIns="25400" rIns="25400" bIns="25400" numCol="1" anchor="ctr">
            <a:spAutoFit/>
          </a:bodyPr>
          <a:lstStyle>
            <a:lvl1pPr algn="l">
              <a:defRPr sz="4000" b="1">
                <a:solidFill>
                  <a:srgbClr val="232323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Our Services</a:t>
            </a:r>
          </a:p>
        </p:txBody>
      </p:sp>
      <p:sp>
        <p:nvSpPr>
          <p:cNvPr id="582" name="Shape 58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87400" y="1860550"/>
            <a:ext cx="3486150" cy="3873500"/>
          </a:xfrm>
          <a:prstGeom prst="rect">
            <a:avLst/>
          </a:prstGeom>
          <a:solidFill>
            <a:schemeClr val="accent3">
              <a:lumMod val="50000"/>
              <a:alpha val="52000"/>
            </a:schemeClr>
          </a:solidFill>
          <a:ln w="25400">
            <a:solidFill>
              <a:srgbClr val="000000">
                <a:alpha val="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292100">
              <a:defRPr sz="4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2000" dirty="0">
              <a:latin typeface="+mj-lt"/>
              <a:cs typeface="等线" panose="02010600030101010101" charset="-122"/>
            </a:endParaRPr>
          </a:p>
        </p:txBody>
      </p:sp>
      <p:sp>
        <p:nvSpPr>
          <p:cNvPr id="584" name="Shape 58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2082800" y="2159665"/>
            <a:ext cx="2120900" cy="913070"/>
          </a:xfrm>
          <a:prstGeom prst="rect">
            <a:avLst/>
          </a:prstGeom>
          <a:ln w="12700">
            <a:miter lim="400000"/>
          </a:ln>
        </p:spPr>
        <p:txBody>
          <a:bodyPr lIns="25400" tIns="25400" rIns="25400" bIns="25400" anchor="ctr">
            <a:spAutoFit/>
          </a:bodyPr>
          <a:lstStyle/>
          <a:p>
            <a:pPr lvl="0">
              <a:defRPr sz="1800"/>
            </a:pPr>
            <a:r>
              <a:rPr sz="2800" b="1" dirty="0">
                <a:solidFill>
                  <a:schemeClr val="bg1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Free </a:t>
            </a:r>
            <a:r>
              <a:rPr sz="2800" dirty="0">
                <a:solidFill>
                  <a:schemeClr val="bg1"/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Storage</a:t>
            </a:r>
          </a:p>
        </p:txBody>
      </p:sp>
      <p:grpSp>
        <p:nvGrpSpPr>
          <p:cNvPr id="591" name="Group 59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116516" y="2215376"/>
            <a:ext cx="755651" cy="863600"/>
            <a:chOff x="0" y="0"/>
            <a:chExt cx="1511300" cy="1727199"/>
          </a:xfrm>
          <a:solidFill>
            <a:schemeClr val="bg1"/>
          </a:solidFill>
        </p:grpSpPr>
        <p:sp>
          <p:nvSpPr>
            <p:cNvPr id="587" name="Shape 587"/>
            <p:cNvSpPr/>
            <p:nvPr/>
          </p:nvSpPr>
          <p:spPr>
            <a:xfrm>
              <a:off x="0" y="0"/>
              <a:ext cx="1511301" cy="172720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7425"/>
                  </a:moveTo>
                  <a:cubicBezTo>
                    <a:pt x="5687" y="7425"/>
                    <a:pt x="1543" y="6064"/>
                    <a:pt x="1543" y="4388"/>
                  </a:cubicBezTo>
                  <a:cubicBezTo>
                    <a:pt x="1543" y="2709"/>
                    <a:pt x="5687" y="1350"/>
                    <a:pt x="10800" y="1350"/>
                  </a:cubicBezTo>
                  <a:cubicBezTo>
                    <a:pt x="15913" y="1350"/>
                    <a:pt x="20057" y="2709"/>
                    <a:pt x="20057" y="4388"/>
                  </a:cubicBezTo>
                  <a:cubicBezTo>
                    <a:pt x="20057" y="6064"/>
                    <a:pt x="15913" y="7425"/>
                    <a:pt x="10800" y="7425"/>
                  </a:cubicBezTo>
                  <a:moveTo>
                    <a:pt x="20057" y="9113"/>
                  </a:moveTo>
                  <a:lnTo>
                    <a:pt x="20054" y="9113"/>
                  </a:lnTo>
                  <a:cubicBezTo>
                    <a:pt x="20054" y="9119"/>
                    <a:pt x="20057" y="9127"/>
                    <a:pt x="20057" y="9134"/>
                  </a:cubicBezTo>
                  <a:cubicBezTo>
                    <a:pt x="20057" y="10800"/>
                    <a:pt x="15912" y="12150"/>
                    <a:pt x="10800" y="12150"/>
                  </a:cubicBezTo>
                  <a:cubicBezTo>
                    <a:pt x="5688" y="12150"/>
                    <a:pt x="1543" y="10800"/>
                    <a:pt x="1543" y="9134"/>
                  </a:cubicBezTo>
                  <a:cubicBezTo>
                    <a:pt x="1543" y="9127"/>
                    <a:pt x="1546" y="9119"/>
                    <a:pt x="1546" y="9113"/>
                  </a:cubicBezTo>
                  <a:lnTo>
                    <a:pt x="1543" y="9113"/>
                  </a:lnTo>
                  <a:lnTo>
                    <a:pt x="1543" y="6794"/>
                  </a:lnTo>
                  <a:cubicBezTo>
                    <a:pt x="3565" y="8141"/>
                    <a:pt x="7271" y="8775"/>
                    <a:pt x="10800" y="8775"/>
                  </a:cubicBezTo>
                  <a:cubicBezTo>
                    <a:pt x="14329" y="8775"/>
                    <a:pt x="18035" y="8141"/>
                    <a:pt x="20057" y="6794"/>
                  </a:cubicBezTo>
                  <a:cubicBezTo>
                    <a:pt x="20057" y="6794"/>
                    <a:pt x="20057" y="9113"/>
                    <a:pt x="20057" y="9113"/>
                  </a:cubicBezTo>
                  <a:close/>
                  <a:moveTo>
                    <a:pt x="20057" y="13163"/>
                  </a:moveTo>
                  <a:lnTo>
                    <a:pt x="20054" y="13163"/>
                  </a:lnTo>
                  <a:cubicBezTo>
                    <a:pt x="20054" y="13169"/>
                    <a:pt x="20057" y="13177"/>
                    <a:pt x="20057" y="13184"/>
                  </a:cubicBezTo>
                  <a:cubicBezTo>
                    <a:pt x="20057" y="14850"/>
                    <a:pt x="15912" y="16200"/>
                    <a:pt x="10800" y="16200"/>
                  </a:cubicBezTo>
                  <a:cubicBezTo>
                    <a:pt x="5688" y="16200"/>
                    <a:pt x="1543" y="14850"/>
                    <a:pt x="1543" y="13184"/>
                  </a:cubicBezTo>
                  <a:cubicBezTo>
                    <a:pt x="1543" y="13177"/>
                    <a:pt x="1546" y="13169"/>
                    <a:pt x="1546" y="13163"/>
                  </a:cubicBezTo>
                  <a:lnTo>
                    <a:pt x="1543" y="13163"/>
                  </a:lnTo>
                  <a:lnTo>
                    <a:pt x="1543" y="10640"/>
                  </a:lnTo>
                  <a:cubicBezTo>
                    <a:pt x="3137" y="12078"/>
                    <a:pt x="6982" y="12825"/>
                    <a:pt x="10800" y="12825"/>
                  </a:cubicBezTo>
                  <a:cubicBezTo>
                    <a:pt x="14618" y="12825"/>
                    <a:pt x="18463" y="12078"/>
                    <a:pt x="20057" y="10640"/>
                  </a:cubicBezTo>
                  <a:cubicBezTo>
                    <a:pt x="20057" y="10640"/>
                    <a:pt x="20057" y="13163"/>
                    <a:pt x="20057" y="13163"/>
                  </a:cubicBezTo>
                  <a:close/>
                  <a:moveTo>
                    <a:pt x="20057" y="17213"/>
                  </a:moveTo>
                  <a:cubicBezTo>
                    <a:pt x="20057" y="18889"/>
                    <a:pt x="15913" y="20250"/>
                    <a:pt x="10800" y="20250"/>
                  </a:cubicBezTo>
                  <a:cubicBezTo>
                    <a:pt x="5687" y="20250"/>
                    <a:pt x="1543" y="18889"/>
                    <a:pt x="1543" y="17213"/>
                  </a:cubicBezTo>
                  <a:lnTo>
                    <a:pt x="1543" y="14690"/>
                  </a:lnTo>
                  <a:cubicBezTo>
                    <a:pt x="3137" y="16128"/>
                    <a:pt x="6982" y="16875"/>
                    <a:pt x="10800" y="16875"/>
                  </a:cubicBezTo>
                  <a:cubicBezTo>
                    <a:pt x="14618" y="16875"/>
                    <a:pt x="18463" y="16128"/>
                    <a:pt x="20057" y="14690"/>
                  </a:cubicBezTo>
                  <a:cubicBezTo>
                    <a:pt x="20057" y="14690"/>
                    <a:pt x="20057" y="17213"/>
                    <a:pt x="20057" y="17213"/>
                  </a:cubicBezTo>
                  <a:close/>
                  <a:moveTo>
                    <a:pt x="10800" y="0"/>
                  </a:moveTo>
                  <a:cubicBezTo>
                    <a:pt x="5598" y="0"/>
                    <a:pt x="0" y="1372"/>
                    <a:pt x="0" y="4388"/>
                  </a:cubicBezTo>
                  <a:lnTo>
                    <a:pt x="0" y="17213"/>
                  </a:lnTo>
                  <a:cubicBezTo>
                    <a:pt x="0" y="20226"/>
                    <a:pt x="5598" y="21600"/>
                    <a:pt x="10800" y="21600"/>
                  </a:cubicBezTo>
                  <a:cubicBezTo>
                    <a:pt x="16002" y="21600"/>
                    <a:pt x="21600" y="20226"/>
                    <a:pt x="21600" y="17213"/>
                  </a:cubicBezTo>
                  <a:lnTo>
                    <a:pt x="21600" y="4388"/>
                  </a:lnTo>
                  <a:cubicBezTo>
                    <a:pt x="21600" y="1372"/>
                    <a:pt x="16002" y="0"/>
                    <a:pt x="10800" y="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 dirty="0"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588" name="Shape 588"/>
            <p:cNvSpPr/>
            <p:nvPr/>
          </p:nvSpPr>
          <p:spPr>
            <a:xfrm>
              <a:off x="1187452" y="1349377"/>
              <a:ext cx="107951" cy="1079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16770" y="21600"/>
                    <a:pt x="21600" y="16770"/>
                    <a:pt x="21600" y="10800"/>
                  </a:cubicBezTo>
                  <a:cubicBezTo>
                    <a:pt x="21600" y="4830"/>
                    <a:pt x="16770" y="0"/>
                    <a:pt x="10800" y="0"/>
                  </a:cubicBezTo>
                  <a:cubicBezTo>
                    <a:pt x="4830" y="0"/>
                    <a:pt x="0" y="4830"/>
                    <a:pt x="0" y="10800"/>
                  </a:cubicBezTo>
                  <a:cubicBezTo>
                    <a:pt x="0" y="16770"/>
                    <a:pt x="4830" y="21600"/>
                    <a:pt x="10800" y="2160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 dirty="0"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589" name="Shape 589"/>
            <p:cNvSpPr/>
            <p:nvPr/>
          </p:nvSpPr>
          <p:spPr>
            <a:xfrm>
              <a:off x="1187452" y="1025522"/>
              <a:ext cx="107951" cy="1079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16770" y="21600"/>
                    <a:pt x="21600" y="16770"/>
                    <a:pt x="21600" y="10800"/>
                  </a:cubicBezTo>
                  <a:cubicBezTo>
                    <a:pt x="21600" y="4830"/>
                    <a:pt x="16770" y="0"/>
                    <a:pt x="10800" y="0"/>
                  </a:cubicBezTo>
                  <a:cubicBezTo>
                    <a:pt x="4830" y="0"/>
                    <a:pt x="0" y="4830"/>
                    <a:pt x="0" y="10800"/>
                  </a:cubicBezTo>
                  <a:cubicBezTo>
                    <a:pt x="0" y="16770"/>
                    <a:pt x="4830" y="21600"/>
                    <a:pt x="10800" y="2160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 dirty="0"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590" name="Shape 590"/>
            <p:cNvSpPr/>
            <p:nvPr/>
          </p:nvSpPr>
          <p:spPr>
            <a:xfrm>
              <a:off x="1187452" y="701673"/>
              <a:ext cx="107951" cy="10795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21600"/>
                  </a:moveTo>
                  <a:cubicBezTo>
                    <a:pt x="16770" y="21600"/>
                    <a:pt x="21600" y="16770"/>
                    <a:pt x="21600" y="10800"/>
                  </a:cubicBezTo>
                  <a:cubicBezTo>
                    <a:pt x="21600" y="4830"/>
                    <a:pt x="16770" y="0"/>
                    <a:pt x="10800" y="0"/>
                  </a:cubicBezTo>
                  <a:cubicBezTo>
                    <a:pt x="4830" y="0"/>
                    <a:pt x="0" y="4830"/>
                    <a:pt x="0" y="10800"/>
                  </a:cubicBezTo>
                  <a:cubicBezTo>
                    <a:pt x="0" y="16770"/>
                    <a:pt x="4830" y="21600"/>
                    <a:pt x="10800" y="21600"/>
                  </a:cubicBezTo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9050" tIns="19050" rIns="19050" bIns="19050" numCol="1" anchor="ctr">
              <a:noAutofit/>
            </a:bodyPr>
            <a:lstStyle/>
            <a:p>
              <a:pPr defTabSz="228600">
                <a:defRPr sz="3000">
                  <a:solidFill>
                    <a:srgbClr val="FFFFFF"/>
                  </a:solidFill>
                  <a:effectLst>
                    <a:outerShdw blurRad="38100" dist="12700" dir="5400000" rotWithShape="0">
                      <a:srgbClr val="000000">
                        <a:alpha val="50000"/>
                      </a:srgbClr>
                    </a:outerShdw>
                  </a:effectLst>
                </a:defRPr>
              </a:pPr>
              <a:endParaRPr sz="1500" dirty="0">
                <a:latin typeface="+mj-lt"/>
                <a:cs typeface="等线" panose="02010600030101010101" charset="-122"/>
              </a:endParaRPr>
            </a:p>
          </p:txBody>
        </p:sp>
      </p:grpSp>
      <p:grpSp>
        <p:nvGrpSpPr>
          <p:cNvPr id="20" name="组合 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986334" y="1386695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21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22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24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1"/>
            </p:custDataLst>
          </p:nvPr>
        </p:nvSpPr>
        <p:spPr>
          <a:xfrm>
            <a:off x="861935" y="920442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sp>
        <p:nvSpPr>
          <p:cNvPr id="25" name="Rectangle: Rounded Corners 2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20827" y="5169362"/>
            <a:ext cx="1402161" cy="382372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solidFill>
                  <a:schemeClr val="bg1"/>
                </a:solidFill>
                <a:cs typeface="等线" panose="02010600030101010101" charset="-122"/>
              </a:rPr>
              <a:t>Read Here</a:t>
            </a:r>
          </a:p>
        </p:txBody>
      </p:sp>
      <p:sp>
        <p:nvSpPr>
          <p:cNvPr id="26" name="TextBox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flipH="1">
            <a:off x="1186010" y="3429000"/>
            <a:ext cx="2524343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200">
                <a:solidFill>
                  <a:schemeClr val="bg1"/>
                </a:solidFill>
                <a:cs typeface="+mn-ea"/>
                <a:sym typeface="+mn-lt"/>
              </a:rPr>
              <a:t>This is a sample text. insert your desired text here. Again. this is a dummy text. enter your own text here. This is a sample text. insert your desired text here. </a:t>
            </a: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14:switch dir="r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5" name="图文框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688122" y="2743200"/>
            <a:ext cx="8651631" cy="1582615"/>
          </a:xfrm>
          <a:prstGeom prst="frame">
            <a:avLst>
              <a:gd name="adj1" fmla="val 759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  <a:cs typeface="等线" panose="02010600030101010101" charset="-122"/>
            </a:endParaRPr>
          </a:p>
        </p:txBody>
      </p:sp>
      <p:sp>
        <p:nvSpPr>
          <p:cNvPr id="8" name="文本框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338668"/>
            <a:ext cx="9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cs typeface="等线" panose="02010600030101010101" charset="-122"/>
              </a:rPr>
              <a:t>WATER</a:t>
            </a:r>
          </a:p>
        </p:txBody>
      </p:sp>
      <p:sp>
        <p:nvSpPr>
          <p:cNvPr id="9" name="TextBox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886577"/>
            <a:ext cx="23027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BUSINESS PRESENTATION TEMPLATE</a:t>
            </a:r>
          </a:p>
        </p:txBody>
      </p:sp>
      <p:pic>
        <p:nvPicPr>
          <p:cNvPr id="4" name="图片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530" y="0"/>
            <a:ext cx="9837424" cy="6714778"/>
          </a:xfrm>
          <a:prstGeom prst="rect">
            <a:avLst/>
          </a:prstGeom>
        </p:spPr>
      </p:pic>
      <p:sp>
        <p:nvSpPr>
          <p:cNvPr id="7" name="文本框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158561" y="2828817"/>
            <a:ext cx="360919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800" dirty="0">
                <a:solidFill>
                  <a:schemeClr val="bg1"/>
                </a:solidFill>
                <a:cs typeface="等线" panose="02010600030101010101" charset="-122"/>
              </a:rPr>
              <a:t>PART</a:t>
            </a:r>
            <a:endParaRPr lang="zh-CN" altLang="en-US" sz="88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0" name="文本框 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531269" y="2846402"/>
            <a:ext cx="360919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800" dirty="0">
                <a:solidFill>
                  <a:schemeClr val="bg1"/>
                </a:solidFill>
                <a:cs typeface="等线" panose="02010600030101010101" charset="-122"/>
              </a:rPr>
              <a:t>THREE</a:t>
            </a:r>
            <a:endParaRPr lang="zh-CN" altLang="en-US" sz="88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grpSp>
        <p:nvGrpSpPr>
          <p:cNvPr id="11" name="组合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390781" y="419542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12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3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占位符 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6" name="矩形 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92369" y="949568"/>
            <a:ext cx="3833446" cy="5064369"/>
          </a:xfrm>
          <a:prstGeom prst="rect">
            <a:avLst/>
          </a:prstGeom>
          <a:solidFill>
            <a:schemeClr val="accent1">
              <a:lumMod val="20000"/>
              <a:lumOff val="80000"/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等线" panose="02010600030101010101" charset="-122"/>
            </a:endParaRPr>
          </a:p>
        </p:txBody>
      </p:sp>
      <p:sp>
        <p:nvSpPr>
          <p:cNvPr id="4" name="Rectangle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354287" y="928914"/>
            <a:ext cx="2046513" cy="5050972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等线" panose="02010600030101010101" charset="-122"/>
            </a:endParaRPr>
          </a:p>
        </p:txBody>
      </p:sp>
      <p:sp>
        <p:nvSpPr>
          <p:cNvPr id="5" name="Rectangle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400800" y="928914"/>
            <a:ext cx="5336498" cy="505097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  <a:cs typeface="等线" panose="02010600030101010101" charset="-122"/>
            </a:endParaRPr>
          </a:p>
        </p:txBody>
      </p:sp>
      <p:sp>
        <p:nvSpPr>
          <p:cNvPr id="13" name="TextBox 1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760862" y="1171472"/>
            <a:ext cx="3074969" cy="19205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4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YOUR AGENDA IN HERE</a:t>
            </a:r>
          </a:p>
        </p:txBody>
      </p:sp>
      <p:grpSp>
        <p:nvGrpSpPr>
          <p:cNvPr id="16" name="Group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4557872" y="1396443"/>
            <a:ext cx="1621442" cy="1148166"/>
            <a:chOff x="4562575" y="1396443"/>
            <a:chExt cx="1621442" cy="1148166"/>
          </a:xfrm>
        </p:grpSpPr>
        <p:sp>
          <p:nvSpPr>
            <p:cNvPr id="14" name="TextBox 13"/>
            <p:cNvSpPr txBox="1"/>
            <p:nvPr/>
          </p:nvSpPr>
          <p:spPr>
            <a:xfrm>
              <a:off x="4562575" y="1396443"/>
              <a:ext cx="160090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6000" dirty="0">
                  <a:solidFill>
                    <a:schemeClr val="bg1"/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20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4583109" y="2175277"/>
              <a:ext cx="160090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spc="600" dirty="0">
                  <a:solidFill>
                    <a:schemeClr val="bg1"/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DAY</a:t>
              </a:r>
            </a:p>
          </p:txBody>
        </p:sp>
      </p:grpSp>
      <p:grpSp>
        <p:nvGrpSpPr>
          <p:cNvPr id="17" name="Group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4557872" y="2847811"/>
            <a:ext cx="1621442" cy="1148166"/>
            <a:chOff x="4562575" y="1396443"/>
            <a:chExt cx="1621442" cy="1148166"/>
          </a:xfrm>
        </p:grpSpPr>
        <p:sp>
          <p:nvSpPr>
            <p:cNvPr id="18" name="TextBox 17"/>
            <p:cNvSpPr txBox="1"/>
            <p:nvPr/>
          </p:nvSpPr>
          <p:spPr>
            <a:xfrm>
              <a:off x="4562575" y="1396443"/>
              <a:ext cx="160090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6000" dirty="0">
                  <a:solidFill>
                    <a:schemeClr val="bg1"/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07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583109" y="2175277"/>
              <a:ext cx="160090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spc="600" dirty="0">
                  <a:solidFill>
                    <a:schemeClr val="bg1"/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MONTH</a:t>
              </a:r>
            </a:p>
          </p:txBody>
        </p:sp>
      </p:grpSp>
      <p:grpSp>
        <p:nvGrpSpPr>
          <p:cNvPr id="20" name="Group 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4557872" y="4299180"/>
            <a:ext cx="1621442" cy="1148166"/>
            <a:chOff x="4562575" y="1396443"/>
            <a:chExt cx="1621442" cy="1148166"/>
          </a:xfrm>
        </p:grpSpPr>
        <p:sp>
          <p:nvSpPr>
            <p:cNvPr id="21" name="TextBox 20"/>
            <p:cNvSpPr txBox="1"/>
            <p:nvPr/>
          </p:nvSpPr>
          <p:spPr>
            <a:xfrm>
              <a:off x="4562575" y="1396443"/>
              <a:ext cx="1600908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6000" dirty="0">
                  <a:solidFill>
                    <a:schemeClr val="bg1"/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18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583109" y="2175277"/>
              <a:ext cx="160090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2000" spc="600" dirty="0">
                  <a:solidFill>
                    <a:schemeClr val="bg1"/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YEAR</a:t>
              </a:r>
            </a:p>
          </p:txBody>
        </p:sp>
      </p:grpSp>
      <p:grpSp>
        <p:nvGrpSpPr>
          <p:cNvPr id="23" name="Group 2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756947" y="1184122"/>
            <a:ext cx="3505200" cy="912422"/>
            <a:chOff x="990601" y="2637459"/>
            <a:chExt cx="3505200" cy="912422"/>
          </a:xfrm>
        </p:grpSpPr>
        <p:sp>
          <p:nvSpPr>
            <p:cNvPr id="24" name="Rectangle 23"/>
            <p:cNvSpPr/>
            <p:nvPr/>
          </p:nvSpPr>
          <p:spPr>
            <a:xfrm>
              <a:off x="990601" y="2637459"/>
              <a:ext cx="3505200" cy="41970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004569" y="2662644"/>
              <a:ext cx="157289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Section One </a:t>
              </a:r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1004568" y="3066544"/>
              <a:ext cx="3402331" cy="4833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id-ID" sz="90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Lorem ipsum dolor sit amet, lacus nulla ac netus nibh aliquet, porttitor ligula justo libero vivamus</a:t>
              </a:r>
              <a:endParaRPr lang="id-ID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grpSp>
        <p:nvGrpSpPr>
          <p:cNvPr id="27" name="Group 2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756947" y="2393825"/>
            <a:ext cx="3505200" cy="912422"/>
            <a:chOff x="990601" y="2637459"/>
            <a:chExt cx="3505200" cy="912422"/>
          </a:xfrm>
        </p:grpSpPr>
        <p:sp>
          <p:nvSpPr>
            <p:cNvPr id="28" name="Rectangle 27"/>
            <p:cNvSpPr/>
            <p:nvPr/>
          </p:nvSpPr>
          <p:spPr>
            <a:xfrm>
              <a:off x="990601" y="2637459"/>
              <a:ext cx="3505200" cy="41970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1004569" y="2662644"/>
              <a:ext cx="157289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Section Two</a:t>
              </a:r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1004568" y="3066544"/>
              <a:ext cx="3402331" cy="4833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id-ID" sz="90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Lorem ipsum dolor sit amet, lacus nulla ac netus nibh aliquet, porttitor ligula justo libero vivamus</a:t>
              </a:r>
              <a:endParaRPr lang="id-ID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grpSp>
        <p:nvGrpSpPr>
          <p:cNvPr id="31" name="Group 3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756947" y="3603528"/>
            <a:ext cx="3505200" cy="912422"/>
            <a:chOff x="990601" y="2637459"/>
            <a:chExt cx="3505200" cy="912422"/>
          </a:xfrm>
        </p:grpSpPr>
        <p:sp>
          <p:nvSpPr>
            <p:cNvPr id="32" name="Rectangle 31"/>
            <p:cNvSpPr/>
            <p:nvPr/>
          </p:nvSpPr>
          <p:spPr>
            <a:xfrm>
              <a:off x="990601" y="2637459"/>
              <a:ext cx="3505200" cy="41970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004569" y="2662644"/>
              <a:ext cx="298196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Section Three</a:t>
              </a:r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1004568" y="3066544"/>
              <a:ext cx="3402331" cy="4833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id-ID" sz="90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Lorem ipsum dolor sit amet, lacus nulla ac netus nibh aliquet, porttitor ligula justo libero vivamus</a:t>
              </a:r>
              <a:endParaRPr lang="id-ID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grpSp>
        <p:nvGrpSpPr>
          <p:cNvPr id="35" name="Group 3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756947" y="4813231"/>
            <a:ext cx="3505200" cy="912422"/>
            <a:chOff x="990601" y="2637459"/>
            <a:chExt cx="3505200" cy="912422"/>
          </a:xfrm>
        </p:grpSpPr>
        <p:sp>
          <p:nvSpPr>
            <p:cNvPr id="36" name="Rectangle 35"/>
            <p:cNvSpPr/>
            <p:nvPr/>
          </p:nvSpPr>
          <p:spPr>
            <a:xfrm>
              <a:off x="990601" y="2637459"/>
              <a:ext cx="3505200" cy="41970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1004569" y="2662644"/>
              <a:ext cx="298196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Section Three</a:t>
              </a:r>
              <a:endPara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等线" panose="02010600030101010101" charset="-122"/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1004568" y="3066544"/>
              <a:ext cx="3402331" cy="4833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50000"/>
                </a:lnSpc>
              </a:pPr>
              <a:r>
                <a:rPr lang="id-ID" sz="900" i="0" dirty="0"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latin typeface="+mj-lt"/>
                  <a:ea typeface="微软雅黑" panose="020B0503020204020204" pitchFamily="34" charset="-122"/>
                  <a:cs typeface="等线" panose="02010600030101010101" charset="-122"/>
                </a:rPr>
                <a:t>Lorem ipsum dolor sit amet, lacus nulla ac netus nibh aliquet, porttitor ligula justo libero vivamus</a:t>
              </a:r>
              <a:endParaRPr lang="id-ID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sp>
        <p:nvSpPr>
          <p:cNvPr id="39" name="Rectangle: Rounded Corners 2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85657" y="5186947"/>
            <a:ext cx="1402161" cy="382372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accent2"/>
            </a:solidFill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solidFill>
                  <a:schemeClr val="tx1"/>
                </a:solidFill>
                <a:cs typeface="等线" panose="02010600030101010101" charset="-122"/>
              </a:rPr>
              <a:t>Read Here</a:t>
            </a:r>
          </a:p>
        </p:txBody>
      </p:sp>
      <p:sp>
        <p:nvSpPr>
          <p:cNvPr id="40" name="TextBox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flipH="1">
            <a:off x="939825" y="3446585"/>
            <a:ext cx="2524343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200">
                <a:cs typeface="+mn-ea"/>
                <a:sym typeface="+mn-lt"/>
              </a:rPr>
              <a:t>This is a sample text. insert your desired text here. Again. this is a dummy text. enter your own text here. This is a sample text. insert your desired text here. </a:t>
            </a:r>
          </a:p>
        </p:txBody>
      </p:sp>
      <p:sp>
        <p:nvSpPr>
          <p:cNvPr id="3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椭圆 2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4391025" y="4812500"/>
            <a:ext cx="3575228" cy="586779"/>
          </a:xfrm>
          <a:prstGeom prst="ellipse">
            <a:avLst/>
          </a:prstGeom>
          <a:gradFill flip="none" rotWithShape="1">
            <a:gsLst>
              <a:gs pos="18000">
                <a:schemeClr val="tx1">
                  <a:alpha val="74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6" name="Group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>
            <a:grpSpLocks noChangeAspect="1"/>
          </p:cNvGrpSpPr>
          <p:nvPr/>
        </p:nvGrpSpPr>
        <p:grpSpPr>
          <a:xfrm>
            <a:off x="4399635" y="1633143"/>
            <a:ext cx="3436426" cy="3434082"/>
            <a:chOff x="4339" y="1274"/>
            <a:chExt cx="1467" cy="1466"/>
          </a:xfrm>
          <a:solidFill>
            <a:schemeClr val="accent3"/>
          </a:solidFill>
        </p:grpSpPr>
        <p:sp>
          <p:nvSpPr>
            <p:cNvPr id="8" name="Freeform 5"/>
            <p:cNvSpPr/>
            <p:nvPr/>
          </p:nvSpPr>
          <p:spPr bwMode="auto">
            <a:xfrm>
              <a:off x="4375" y="2213"/>
              <a:ext cx="1402" cy="527"/>
            </a:xfrm>
            <a:custGeom>
              <a:avLst/>
              <a:gdLst>
                <a:gd name="T0" fmla="*/ 0 w 197"/>
                <a:gd name="T1" fmla="*/ 1 h 74"/>
                <a:gd name="T2" fmla="*/ 98 w 197"/>
                <a:gd name="T3" fmla="*/ 74 h 74"/>
                <a:gd name="T4" fmla="*/ 197 w 197"/>
                <a:gd name="T5" fmla="*/ 0 h 74"/>
                <a:gd name="T6" fmla="*/ 98 w 197"/>
                <a:gd name="T7" fmla="*/ 27 h 74"/>
                <a:gd name="T8" fmla="*/ 0 w 197"/>
                <a:gd name="T9" fmla="*/ 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74">
                  <a:moveTo>
                    <a:pt x="0" y="1"/>
                  </a:moveTo>
                  <a:cubicBezTo>
                    <a:pt x="13" y="44"/>
                    <a:pt x="52" y="74"/>
                    <a:pt x="98" y="74"/>
                  </a:cubicBezTo>
                  <a:cubicBezTo>
                    <a:pt x="145" y="74"/>
                    <a:pt x="185" y="43"/>
                    <a:pt x="197" y="0"/>
                  </a:cubicBezTo>
                  <a:cubicBezTo>
                    <a:pt x="172" y="17"/>
                    <a:pt x="137" y="27"/>
                    <a:pt x="98" y="27"/>
                  </a:cubicBezTo>
                  <a:cubicBezTo>
                    <a:pt x="59" y="27"/>
                    <a:pt x="24" y="17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9" name="Freeform 6"/>
            <p:cNvSpPr/>
            <p:nvPr/>
          </p:nvSpPr>
          <p:spPr bwMode="auto">
            <a:xfrm>
              <a:off x="4339" y="1829"/>
              <a:ext cx="1467" cy="577"/>
            </a:xfrm>
            <a:custGeom>
              <a:avLst/>
              <a:gdLst>
                <a:gd name="T0" fmla="*/ 203 w 206"/>
                <a:gd name="T1" fmla="*/ 0 h 81"/>
                <a:gd name="T2" fmla="*/ 103 w 206"/>
                <a:gd name="T3" fmla="*/ 27 h 81"/>
                <a:gd name="T4" fmla="*/ 3 w 206"/>
                <a:gd name="T5" fmla="*/ 1 h 81"/>
                <a:gd name="T6" fmla="*/ 0 w 206"/>
                <a:gd name="T7" fmla="*/ 25 h 81"/>
                <a:gd name="T8" fmla="*/ 5 w 206"/>
                <a:gd name="T9" fmla="*/ 55 h 81"/>
                <a:gd name="T10" fmla="*/ 103 w 206"/>
                <a:gd name="T11" fmla="*/ 81 h 81"/>
                <a:gd name="T12" fmla="*/ 202 w 206"/>
                <a:gd name="T13" fmla="*/ 54 h 81"/>
                <a:gd name="T14" fmla="*/ 206 w 206"/>
                <a:gd name="T15" fmla="*/ 25 h 81"/>
                <a:gd name="T16" fmla="*/ 203 w 206"/>
                <a:gd name="T1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6" h="81">
                  <a:moveTo>
                    <a:pt x="203" y="0"/>
                  </a:moveTo>
                  <a:cubicBezTo>
                    <a:pt x="178" y="17"/>
                    <a:pt x="142" y="27"/>
                    <a:pt x="103" y="27"/>
                  </a:cubicBezTo>
                  <a:cubicBezTo>
                    <a:pt x="63" y="27"/>
                    <a:pt x="28" y="17"/>
                    <a:pt x="3" y="1"/>
                  </a:cubicBezTo>
                  <a:cubicBezTo>
                    <a:pt x="1" y="9"/>
                    <a:pt x="0" y="17"/>
                    <a:pt x="0" y="25"/>
                  </a:cubicBezTo>
                  <a:cubicBezTo>
                    <a:pt x="0" y="36"/>
                    <a:pt x="2" y="46"/>
                    <a:pt x="5" y="55"/>
                  </a:cubicBezTo>
                  <a:cubicBezTo>
                    <a:pt x="29" y="71"/>
                    <a:pt x="64" y="81"/>
                    <a:pt x="103" y="81"/>
                  </a:cubicBezTo>
                  <a:cubicBezTo>
                    <a:pt x="142" y="81"/>
                    <a:pt x="177" y="71"/>
                    <a:pt x="202" y="54"/>
                  </a:cubicBezTo>
                  <a:cubicBezTo>
                    <a:pt x="205" y="45"/>
                    <a:pt x="206" y="35"/>
                    <a:pt x="206" y="25"/>
                  </a:cubicBezTo>
                  <a:cubicBezTo>
                    <a:pt x="206" y="16"/>
                    <a:pt x="205" y="8"/>
                    <a:pt x="20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10" name="Freeform 7"/>
            <p:cNvSpPr/>
            <p:nvPr/>
          </p:nvSpPr>
          <p:spPr bwMode="auto">
            <a:xfrm>
              <a:off x="4360" y="1537"/>
              <a:ext cx="1425" cy="484"/>
            </a:xfrm>
            <a:custGeom>
              <a:avLst/>
              <a:gdLst>
                <a:gd name="T0" fmla="*/ 20 w 200"/>
                <a:gd name="T1" fmla="*/ 1 h 68"/>
                <a:gd name="T2" fmla="*/ 0 w 200"/>
                <a:gd name="T3" fmla="*/ 42 h 68"/>
                <a:gd name="T4" fmla="*/ 100 w 200"/>
                <a:gd name="T5" fmla="*/ 68 h 68"/>
                <a:gd name="T6" fmla="*/ 200 w 200"/>
                <a:gd name="T7" fmla="*/ 41 h 68"/>
                <a:gd name="T8" fmla="*/ 180 w 200"/>
                <a:gd name="T9" fmla="*/ 0 h 68"/>
                <a:gd name="T10" fmla="*/ 100 w 200"/>
                <a:gd name="T11" fmla="*/ 16 h 68"/>
                <a:gd name="T12" fmla="*/ 20 w 200"/>
                <a:gd name="T13" fmla="*/ 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68">
                  <a:moveTo>
                    <a:pt x="20" y="1"/>
                  </a:moveTo>
                  <a:cubicBezTo>
                    <a:pt x="11" y="12"/>
                    <a:pt x="4" y="26"/>
                    <a:pt x="0" y="42"/>
                  </a:cubicBezTo>
                  <a:cubicBezTo>
                    <a:pt x="25" y="58"/>
                    <a:pt x="60" y="68"/>
                    <a:pt x="100" y="68"/>
                  </a:cubicBezTo>
                  <a:cubicBezTo>
                    <a:pt x="139" y="68"/>
                    <a:pt x="175" y="58"/>
                    <a:pt x="200" y="41"/>
                  </a:cubicBezTo>
                  <a:cubicBezTo>
                    <a:pt x="197" y="26"/>
                    <a:pt x="190" y="12"/>
                    <a:pt x="180" y="0"/>
                  </a:cubicBezTo>
                  <a:cubicBezTo>
                    <a:pt x="157" y="10"/>
                    <a:pt x="130" y="16"/>
                    <a:pt x="100" y="16"/>
                  </a:cubicBezTo>
                  <a:cubicBezTo>
                    <a:pt x="70" y="16"/>
                    <a:pt x="43" y="10"/>
                    <a:pt x="2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11" name="Freeform 8"/>
            <p:cNvSpPr/>
            <p:nvPr/>
          </p:nvSpPr>
          <p:spPr bwMode="auto">
            <a:xfrm>
              <a:off x="4503" y="1274"/>
              <a:ext cx="1139" cy="377"/>
            </a:xfrm>
            <a:custGeom>
              <a:avLst/>
              <a:gdLst>
                <a:gd name="T0" fmla="*/ 80 w 160"/>
                <a:gd name="T1" fmla="*/ 0 h 53"/>
                <a:gd name="T2" fmla="*/ 0 w 160"/>
                <a:gd name="T3" fmla="*/ 38 h 53"/>
                <a:gd name="T4" fmla="*/ 80 w 160"/>
                <a:gd name="T5" fmla="*/ 53 h 53"/>
                <a:gd name="T6" fmla="*/ 160 w 160"/>
                <a:gd name="T7" fmla="*/ 37 h 53"/>
                <a:gd name="T8" fmla="*/ 80 w 160"/>
                <a:gd name="T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52">
                  <a:moveTo>
                    <a:pt x="80" y="0"/>
                  </a:moveTo>
                  <a:cubicBezTo>
                    <a:pt x="48" y="0"/>
                    <a:pt x="19" y="14"/>
                    <a:pt x="0" y="38"/>
                  </a:cubicBezTo>
                  <a:cubicBezTo>
                    <a:pt x="23" y="47"/>
                    <a:pt x="50" y="53"/>
                    <a:pt x="80" y="53"/>
                  </a:cubicBezTo>
                  <a:cubicBezTo>
                    <a:pt x="110" y="53"/>
                    <a:pt x="137" y="47"/>
                    <a:pt x="160" y="37"/>
                  </a:cubicBezTo>
                  <a:cubicBezTo>
                    <a:pt x="141" y="14"/>
                    <a:pt x="112" y="0"/>
                    <a:pt x="8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pic>
        <p:nvPicPr>
          <p:cNvPr id="19" name="图片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50270" y="1597075"/>
            <a:ext cx="3412300" cy="3300332"/>
          </a:xfrm>
          <a:prstGeom prst="rect">
            <a:avLst/>
          </a:prstGeom>
        </p:spPr>
      </p:pic>
      <p:sp>
        <p:nvSpPr>
          <p:cNvPr id="35" name="Freeform 154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5944646" y="2018539"/>
            <a:ext cx="318558" cy="357260"/>
          </a:xfrm>
          <a:custGeom>
            <a:avLst/>
            <a:gdLst>
              <a:gd name="T0" fmla="*/ 24 w 24"/>
              <a:gd name="T1" fmla="*/ 12 h 27"/>
              <a:gd name="T2" fmla="*/ 13 w 24"/>
              <a:gd name="T3" fmla="*/ 1 h 27"/>
              <a:gd name="T4" fmla="*/ 13 w 24"/>
              <a:gd name="T5" fmla="*/ 1 h 27"/>
              <a:gd name="T6" fmla="*/ 12 w 24"/>
              <a:gd name="T7" fmla="*/ 0 h 27"/>
              <a:gd name="T8" fmla="*/ 11 w 24"/>
              <a:gd name="T9" fmla="*/ 1 h 27"/>
              <a:gd name="T10" fmla="*/ 11 w 24"/>
              <a:gd name="T11" fmla="*/ 1 h 27"/>
              <a:gd name="T12" fmla="*/ 0 w 24"/>
              <a:gd name="T13" fmla="*/ 12 h 27"/>
              <a:gd name="T14" fmla="*/ 11 w 24"/>
              <a:gd name="T15" fmla="*/ 12 h 27"/>
              <a:gd name="T16" fmla="*/ 11 w 24"/>
              <a:gd name="T17" fmla="*/ 22 h 27"/>
              <a:gd name="T18" fmla="*/ 11 w 24"/>
              <a:gd name="T19" fmla="*/ 22 h 27"/>
              <a:gd name="T20" fmla="*/ 10 w 24"/>
              <a:gd name="T21" fmla="*/ 25 h 27"/>
              <a:gd name="T22" fmla="*/ 7 w 24"/>
              <a:gd name="T23" fmla="*/ 26 h 27"/>
              <a:gd name="T24" fmla="*/ 5 w 24"/>
              <a:gd name="T25" fmla="*/ 25 h 27"/>
              <a:gd name="T26" fmla="*/ 4 w 24"/>
              <a:gd name="T27" fmla="*/ 22 h 27"/>
              <a:gd name="T28" fmla="*/ 3 w 24"/>
              <a:gd name="T29" fmla="*/ 21 h 27"/>
              <a:gd name="T30" fmla="*/ 2 w 24"/>
              <a:gd name="T31" fmla="*/ 22 h 27"/>
              <a:gd name="T32" fmla="*/ 7 w 24"/>
              <a:gd name="T33" fmla="*/ 27 h 27"/>
              <a:gd name="T34" fmla="*/ 13 w 24"/>
              <a:gd name="T35" fmla="*/ 22 h 27"/>
              <a:gd name="T36" fmla="*/ 13 w 24"/>
              <a:gd name="T37" fmla="*/ 22 h 27"/>
              <a:gd name="T38" fmla="*/ 13 w 24"/>
              <a:gd name="T39" fmla="*/ 12 h 27"/>
              <a:gd name="T40" fmla="*/ 24 w 24"/>
              <a:gd name="T41" fmla="*/ 12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4" h="27">
                <a:moveTo>
                  <a:pt x="24" y="12"/>
                </a:moveTo>
                <a:cubicBezTo>
                  <a:pt x="24" y="6"/>
                  <a:pt x="19" y="2"/>
                  <a:pt x="13" y="1"/>
                </a:cubicBezTo>
                <a:cubicBezTo>
                  <a:pt x="13" y="1"/>
                  <a:pt x="13" y="1"/>
                  <a:pt x="13" y="1"/>
                </a:cubicBezTo>
                <a:cubicBezTo>
                  <a:pt x="13" y="0"/>
                  <a:pt x="12" y="0"/>
                  <a:pt x="12" y="0"/>
                </a:cubicBezTo>
                <a:cubicBezTo>
                  <a:pt x="11" y="0"/>
                  <a:pt x="11" y="0"/>
                  <a:pt x="11" y="1"/>
                </a:cubicBezTo>
                <a:cubicBezTo>
                  <a:pt x="11" y="1"/>
                  <a:pt x="11" y="1"/>
                  <a:pt x="11" y="1"/>
                </a:cubicBezTo>
                <a:cubicBezTo>
                  <a:pt x="5" y="2"/>
                  <a:pt x="0" y="6"/>
                  <a:pt x="0" y="12"/>
                </a:cubicBezTo>
                <a:cubicBezTo>
                  <a:pt x="11" y="12"/>
                  <a:pt x="11" y="12"/>
                  <a:pt x="11" y="12"/>
                </a:cubicBezTo>
                <a:cubicBezTo>
                  <a:pt x="11" y="22"/>
                  <a:pt x="11" y="22"/>
                  <a:pt x="11" y="22"/>
                </a:cubicBezTo>
                <a:cubicBezTo>
                  <a:pt x="11" y="22"/>
                  <a:pt x="11" y="22"/>
                  <a:pt x="11" y="22"/>
                </a:cubicBezTo>
                <a:cubicBezTo>
                  <a:pt x="11" y="23"/>
                  <a:pt x="10" y="24"/>
                  <a:pt x="10" y="25"/>
                </a:cubicBezTo>
                <a:cubicBezTo>
                  <a:pt x="9" y="25"/>
                  <a:pt x="8" y="26"/>
                  <a:pt x="7" y="26"/>
                </a:cubicBezTo>
                <a:cubicBezTo>
                  <a:pt x="6" y="26"/>
                  <a:pt x="5" y="25"/>
                  <a:pt x="5" y="25"/>
                </a:cubicBezTo>
                <a:cubicBezTo>
                  <a:pt x="4" y="24"/>
                  <a:pt x="4" y="23"/>
                  <a:pt x="4" y="22"/>
                </a:cubicBezTo>
                <a:cubicBezTo>
                  <a:pt x="4" y="22"/>
                  <a:pt x="3" y="21"/>
                  <a:pt x="3" y="21"/>
                </a:cubicBezTo>
                <a:cubicBezTo>
                  <a:pt x="2" y="21"/>
                  <a:pt x="2" y="22"/>
                  <a:pt x="2" y="22"/>
                </a:cubicBezTo>
                <a:cubicBezTo>
                  <a:pt x="2" y="25"/>
                  <a:pt x="4" y="27"/>
                  <a:pt x="7" y="27"/>
                </a:cubicBezTo>
                <a:cubicBezTo>
                  <a:pt x="10" y="27"/>
                  <a:pt x="12" y="25"/>
                  <a:pt x="13" y="22"/>
                </a:cubicBezTo>
                <a:cubicBezTo>
                  <a:pt x="13" y="22"/>
                  <a:pt x="13" y="22"/>
                  <a:pt x="13" y="22"/>
                </a:cubicBezTo>
                <a:cubicBezTo>
                  <a:pt x="13" y="12"/>
                  <a:pt x="13" y="12"/>
                  <a:pt x="13" y="12"/>
                </a:cubicBezTo>
                <a:lnTo>
                  <a:pt x="24" y="1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24" name="组合 2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959135" y="2828237"/>
            <a:ext cx="291760" cy="263060"/>
            <a:chOff x="3186906" y="2915323"/>
            <a:chExt cx="291760" cy="263060"/>
          </a:xfrm>
        </p:grpSpPr>
        <p:sp>
          <p:nvSpPr>
            <p:cNvPr id="36" name="Freeform 1717"/>
            <p:cNvSpPr/>
            <p:nvPr/>
          </p:nvSpPr>
          <p:spPr bwMode="auto">
            <a:xfrm>
              <a:off x="3240495" y="2915323"/>
              <a:ext cx="184582" cy="65498"/>
            </a:xfrm>
            <a:custGeom>
              <a:avLst/>
              <a:gdLst>
                <a:gd name="T0" fmla="*/ 11 w 14"/>
                <a:gd name="T1" fmla="*/ 4 h 5"/>
                <a:gd name="T2" fmla="*/ 11 w 14"/>
                <a:gd name="T3" fmla="*/ 4 h 5"/>
                <a:gd name="T4" fmla="*/ 14 w 14"/>
                <a:gd name="T5" fmla="*/ 1 h 5"/>
                <a:gd name="T6" fmla="*/ 14 w 14"/>
                <a:gd name="T7" fmla="*/ 0 h 5"/>
                <a:gd name="T8" fmla="*/ 13 w 14"/>
                <a:gd name="T9" fmla="*/ 0 h 5"/>
                <a:gd name="T10" fmla="*/ 10 w 14"/>
                <a:gd name="T11" fmla="*/ 3 h 5"/>
                <a:gd name="T12" fmla="*/ 4 w 14"/>
                <a:gd name="T13" fmla="*/ 3 h 5"/>
                <a:gd name="T14" fmla="*/ 1 w 14"/>
                <a:gd name="T15" fmla="*/ 0 h 5"/>
                <a:gd name="T16" fmla="*/ 0 w 14"/>
                <a:gd name="T17" fmla="*/ 0 h 5"/>
                <a:gd name="T18" fmla="*/ 0 w 14"/>
                <a:gd name="T19" fmla="*/ 1 h 5"/>
                <a:gd name="T20" fmla="*/ 3 w 14"/>
                <a:gd name="T21" fmla="*/ 4 h 5"/>
                <a:gd name="T22" fmla="*/ 3 w 14"/>
                <a:gd name="T23" fmla="*/ 4 h 5"/>
                <a:gd name="T24" fmla="*/ 3 w 14"/>
                <a:gd name="T25" fmla="*/ 5 h 5"/>
                <a:gd name="T26" fmla="*/ 11 w 14"/>
                <a:gd name="T27" fmla="*/ 5 h 5"/>
                <a:gd name="T28" fmla="*/ 11 w 14"/>
                <a:gd name="T2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5">
                  <a:moveTo>
                    <a:pt x="11" y="4"/>
                  </a:moveTo>
                  <a:cubicBezTo>
                    <a:pt x="11" y="4"/>
                    <a:pt x="11" y="4"/>
                    <a:pt x="11" y="4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1" y="5"/>
                    <a:pt x="11" y="5"/>
                    <a:pt x="11" y="5"/>
                  </a:cubicBezTo>
                  <a:lnTo>
                    <a:pt x="11" y="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  <p:sp>
          <p:nvSpPr>
            <p:cNvPr id="37" name="Freeform 1718"/>
            <p:cNvSpPr>
              <a:spLocks noEditPoints="1"/>
            </p:cNvSpPr>
            <p:nvPr/>
          </p:nvSpPr>
          <p:spPr bwMode="auto">
            <a:xfrm>
              <a:off x="3186906" y="2940209"/>
              <a:ext cx="291760" cy="238174"/>
            </a:xfrm>
            <a:custGeom>
              <a:avLst/>
              <a:gdLst>
                <a:gd name="T0" fmla="*/ 21 w 22"/>
                <a:gd name="T1" fmla="*/ 0 h 18"/>
                <a:gd name="T2" fmla="*/ 15 w 22"/>
                <a:gd name="T3" fmla="*/ 0 h 18"/>
                <a:gd name="T4" fmla="*/ 15 w 22"/>
                <a:gd name="T5" fmla="*/ 0 h 18"/>
                <a:gd name="T6" fmla="*/ 7 w 22"/>
                <a:gd name="T7" fmla="*/ 0 h 18"/>
                <a:gd name="T8" fmla="*/ 6 w 22"/>
                <a:gd name="T9" fmla="*/ 0 h 18"/>
                <a:gd name="T10" fmla="*/ 1 w 22"/>
                <a:gd name="T11" fmla="*/ 0 h 18"/>
                <a:gd name="T12" fmla="*/ 0 w 22"/>
                <a:gd name="T13" fmla="*/ 1 h 18"/>
                <a:gd name="T14" fmla="*/ 0 w 22"/>
                <a:gd name="T15" fmla="*/ 17 h 18"/>
                <a:gd name="T16" fmla="*/ 1 w 22"/>
                <a:gd name="T17" fmla="*/ 18 h 18"/>
                <a:gd name="T18" fmla="*/ 21 w 22"/>
                <a:gd name="T19" fmla="*/ 18 h 18"/>
                <a:gd name="T20" fmla="*/ 22 w 22"/>
                <a:gd name="T21" fmla="*/ 17 h 18"/>
                <a:gd name="T22" fmla="*/ 22 w 22"/>
                <a:gd name="T23" fmla="*/ 1 h 18"/>
                <a:gd name="T24" fmla="*/ 21 w 22"/>
                <a:gd name="T25" fmla="*/ 0 h 18"/>
                <a:gd name="T26" fmla="*/ 6 w 22"/>
                <a:gd name="T27" fmla="*/ 17 h 18"/>
                <a:gd name="T28" fmla="*/ 5 w 22"/>
                <a:gd name="T29" fmla="*/ 16 h 18"/>
                <a:gd name="T30" fmla="*/ 6 w 22"/>
                <a:gd name="T31" fmla="*/ 15 h 18"/>
                <a:gd name="T32" fmla="*/ 7 w 22"/>
                <a:gd name="T33" fmla="*/ 16 h 18"/>
                <a:gd name="T34" fmla="*/ 6 w 22"/>
                <a:gd name="T35" fmla="*/ 17 h 18"/>
                <a:gd name="T36" fmla="*/ 8 w 22"/>
                <a:gd name="T37" fmla="*/ 17 h 18"/>
                <a:gd name="T38" fmla="*/ 8 w 22"/>
                <a:gd name="T39" fmla="*/ 16 h 18"/>
                <a:gd name="T40" fmla="*/ 8 w 22"/>
                <a:gd name="T41" fmla="*/ 15 h 18"/>
                <a:gd name="T42" fmla="*/ 9 w 22"/>
                <a:gd name="T43" fmla="*/ 16 h 18"/>
                <a:gd name="T44" fmla="*/ 8 w 22"/>
                <a:gd name="T45" fmla="*/ 17 h 18"/>
                <a:gd name="T46" fmla="*/ 11 w 22"/>
                <a:gd name="T47" fmla="*/ 17 h 18"/>
                <a:gd name="T48" fmla="*/ 10 w 22"/>
                <a:gd name="T49" fmla="*/ 16 h 18"/>
                <a:gd name="T50" fmla="*/ 11 w 22"/>
                <a:gd name="T51" fmla="*/ 15 h 18"/>
                <a:gd name="T52" fmla="*/ 12 w 22"/>
                <a:gd name="T53" fmla="*/ 16 h 18"/>
                <a:gd name="T54" fmla="*/ 11 w 22"/>
                <a:gd name="T55" fmla="*/ 17 h 18"/>
                <a:gd name="T56" fmla="*/ 13 w 22"/>
                <a:gd name="T57" fmla="*/ 17 h 18"/>
                <a:gd name="T58" fmla="*/ 12 w 22"/>
                <a:gd name="T59" fmla="*/ 16 h 18"/>
                <a:gd name="T60" fmla="*/ 13 w 22"/>
                <a:gd name="T61" fmla="*/ 15 h 18"/>
                <a:gd name="T62" fmla="*/ 14 w 22"/>
                <a:gd name="T63" fmla="*/ 16 h 18"/>
                <a:gd name="T64" fmla="*/ 13 w 22"/>
                <a:gd name="T65" fmla="*/ 17 h 18"/>
                <a:gd name="T66" fmla="*/ 15 w 22"/>
                <a:gd name="T67" fmla="*/ 17 h 18"/>
                <a:gd name="T68" fmla="*/ 15 w 22"/>
                <a:gd name="T69" fmla="*/ 16 h 18"/>
                <a:gd name="T70" fmla="*/ 15 w 22"/>
                <a:gd name="T71" fmla="*/ 15 h 18"/>
                <a:gd name="T72" fmla="*/ 16 w 22"/>
                <a:gd name="T73" fmla="*/ 16 h 18"/>
                <a:gd name="T74" fmla="*/ 15 w 22"/>
                <a:gd name="T75" fmla="*/ 17 h 18"/>
                <a:gd name="T76" fmla="*/ 20 w 22"/>
                <a:gd name="T77" fmla="*/ 13 h 18"/>
                <a:gd name="T78" fmla="*/ 20 w 22"/>
                <a:gd name="T79" fmla="*/ 14 h 18"/>
                <a:gd name="T80" fmla="*/ 2 w 22"/>
                <a:gd name="T81" fmla="*/ 14 h 18"/>
                <a:gd name="T82" fmla="*/ 1 w 22"/>
                <a:gd name="T83" fmla="*/ 13 h 18"/>
                <a:gd name="T84" fmla="*/ 1 w 22"/>
                <a:gd name="T85" fmla="*/ 2 h 18"/>
                <a:gd name="T86" fmla="*/ 2 w 22"/>
                <a:gd name="T87" fmla="*/ 2 h 18"/>
                <a:gd name="T88" fmla="*/ 6 w 22"/>
                <a:gd name="T89" fmla="*/ 2 h 18"/>
                <a:gd name="T90" fmla="*/ 15 w 22"/>
                <a:gd name="T91" fmla="*/ 2 h 18"/>
                <a:gd name="T92" fmla="*/ 20 w 22"/>
                <a:gd name="T93" fmla="*/ 2 h 18"/>
                <a:gd name="T94" fmla="*/ 20 w 22"/>
                <a:gd name="T95" fmla="*/ 2 h 18"/>
                <a:gd name="T96" fmla="*/ 20 w 22"/>
                <a:gd name="T97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" h="18">
                  <a:moveTo>
                    <a:pt x="21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17"/>
                    <a:pt x="0" y="18"/>
                    <a:pt x="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1" y="18"/>
                    <a:pt x="22" y="17"/>
                    <a:pt x="22" y="17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1" y="0"/>
                    <a:pt x="21" y="0"/>
                  </a:cubicBezTo>
                  <a:close/>
                  <a:moveTo>
                    <a:pt x="6" y="17"/>
                  </a:moveTo>
                  <a:cubicBezTo>
                    <a:pt x="6" y="17"/>
                    <a:pt x="5" y="16"/>
                    <a:pt x="5" y="16"/>
                  </a:cubicBezTo>
                  <a:cubicBezTo>
                    <a:pt x="5" y="16"/>
                    <a:pt x="6" y="15"/>
                    <a:pt x="6" y="15"/>
                  </a:cubicBezTo>
                  <a:cubicBezTo>
                    <a:pt x="6" y="15"/>
                    <a:pt x="7" y="16"/>
                    <a:pt x="7" y="16"/>
                  </a:cubicBezTo>
                  <a:cubicBezTo>
                    <a:pt x="7" y="16"/>
                    <a:pt x="6" y="17"/>
                    <a:pt x="6" y="17"/>
                  </a:cubicBezTo>
                  <a:close/>
                  <a:moveTo>
                    <a:pt x="8" y="17"/>
                  </a:moveTo>
                  <a:cubicBezTo>
                    <a:pt x="8" y="17"/>
                    <a:pt x="8" y="16"/>
                    <a:pt x="8" y="16"/>
                  </a:cubicBezTo>
                  <a:cubicBezTo>
                    <a:pt x="8" y="16"/>
                    <a:pt x="8" y="15"/>
                    <a:pt x="8" y="15"/>
                  </a:cubicBezTo>
                  <a:cubicBezTo>
                    <a:pt x="9" y="15"/>
                    <a:pt x="9" y="16"/>
                    <a:pt x="9" y="16"/>
                  </a:cubicBezTo>
                  <a:cubicBezTo>
                    <a:pt x="9" y="16"/>
                    <a:pt x="9" y="17"/>
                    <a:pt x="8" y="17"/>
                  </a:cubicBezTo>
                  <a:close/>
                  <a:moveTo>
                    <a:pt x="11" y="17"/>
                  </a:moveTo>
                  <a:cubicBezTo>
                    <a:pt x="10" y="17"/>
                    <a:pt x="10" y="17"/>
                    <a:pt x="10" y="16"/>
                  </a:cubicBezTo>
                  <a:cubicBezTo>
                    <a:pt x="10" y="15"/>
                    <a:pt x="10" y="15"/>
                    <a:pt x="11" y="15"/>
                  </a:cubicBezTo>
                  <a:cubicBezTo>
                    <a:pt x="11" y="15"/>
                    <a:pt x="12" y="15"/>
                    <a:pt x="12" y="16"/>
                  </a:cubicBezTo>
                  <a:cubicBezTo>
                    <a:pt x="12" y="17"/>
                    <a:pt x="11" y="17"/>
                    <a:pt x="11" y="17"/>
                  </a:cubicBezTo>
                  <a:close/>
                  <a:moveTo>
                    <a:pt x="13" y="17"/>
                  </a:moveTo>
                  <a:cubicBezTo>
                    <a:pt x="13" y="17"/>
                    <a:pt x="12" y="16"/>
                    <a:pt x="12" y="16"/>
                  </a:cubicBezTo>
                  <a:cubicBezTo>
                    <a:pt x="12" y="16"/>
                    <a:pt x="13" y="15"/>
                    <a:pt x="13" y="15"/>
                  </a:cubicBezTo>
                  <a:cubicBezTo>
                    <a:pt x="13" y="15"/>
                    <a:pt x="14" y="16"/>
                    <a:pt x="14" y="16"/>
                  </a:cubicBezTo>
                  <a:cubicBezTo>
                    <a:pt x="14" y="16"/>
                    <a:pt x="13" y="17"/>
                    <a:pt x="13" y="17"/>
                  </a:cubicBezTo>
                  <a:close/>
                  <a:moveTo>
                    <a:pt x="15" y="17"/>
                  </a:moveTo>
                  <a:cubicBezTo>
                    <a:pt x="15" y="17"/>
                    <a:pt x="15" y="16"/>
                    <a:pt x="15" y="16"/>
                  </a:cubicBezTo>
                  <a:cubicBezTo>
                    <a:pt x="15" y="16"/>
                    <a:pt x="15" y="15"/>
                    <a:pt x="15" y="15"/>
                  </a:cubicBezTo>
                  <a:cubicBezTo>
                    <a:pt x="16" y="15"/>
                    <a:pt x="16" y="16"/>
                    <a:pt x="16" y="16"/>
                  </a:cubicBezTo>
                  <a:cubicBezTo>
                    <a:pt x="16" y="16"/>
                    <a:pt x="16" y="17"/>
                    <a:pt x="15" y="17"/>
                  </a:cubicBezTo>
                  <a:close/>
                  <a:moveTo>
                    <a:pt x="20" y="13"/>
                  </a:moveTo>
                  <a:cubicBezTo>
                    <a:pt x="20" y="14"/>
                    <a:pt x="20" y="14"/>
                    <a:pt x="20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4"/>
                    <a:pt x="1" y="14"/>
                    <a:pt x="1" y="1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lnTo>
                    <a:pt x="20" y="1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 dirty="0">
                <a:ea typeface="微软雅黑" panose="020B0503020204020204" pitchFamily="34" charset="-122"/>
                <a:cs typeface="等线" panose="02010600030101010101" charset="-122"/>
              </a:endParaRPr>
            </a:p>
          </p:txBody>
        </p:sp>
      </p:grpSp>
      <p:sp>
        <p:nvSpPr>
          <p:cNvPr id="38" name="Freeform 172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5917582" y="4507628"/>
            <a:ext cx="276878" cy="253058"/>
          </a:xfrm>
          <a:custGeom>
            <a:avLst/>
            <a:gdLst>
              <a:gd name="T0" fmla="*/ 20 w 21"/>
              <a:gd name="T1" fmla="*/ 0 h 19"/>
              <a:gd name="T2" fmla="*/ 18 w 21"/>
              <a:gd name="T3" fmla="*/ 1 h 19"/>
              <a:gd name="T4" fmla="*/ 9 w 21"/>
              <a:gd name="T5" fmla="*/ 14 h 19"/>
              <a:gd name="T6" fmla="*/ 5 w 21"/>
              <a:gd name="T7" fmla="*/ 9 h 19"/>
              <a:gd name="T8" fmla="*/ 0 w 21"/>
              <a:gd name="T9" fmla="*/ 9 h 19"/>
              <a:gd name="T10" fmla="*/ 1 w 21"/>
              <a:gd name="T11" fmla="*/ 9 h 19"/>
              <a:gd name="T12" fmla="*/ 8 w 21"/>
              <a:gd name="T13" fmla="*/ 18 h 19"/>
              <a:gd name="T14" fmla="*/ 9 w 21"/>
              <a:gd name="T15" fmla="*/ 19 h 19"/>
              <a:gd name="T16" fmla="*/ 9 w 21"/>
              <a:gd name="T17" fmla="*/ 19 h 19"/>
              <a:gd name="T18" fmla="*/ 11 w 21"/>
              <a:gd name="T19" fmla="*/ 18 h 19"/>
              <a:gd name="T20" fmla="*/ 21 w 21"/>
              <a:gd name="T21" fmla="*/ 3 h 19"/>
              <a:gd name="T22" fmla="*/ 20 w 21"/>
              <a:gd name="T2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1" h="19">
                <a:moveTo>
                  <a:pt x="20" y="0"/>
                </a:moveTo>
                <a:cubicBezTo>
                  <a:pt x="20" y="0"/>
                  <a:pt x="18" y="0"/>
                  <a:pt x="18" y="1"/>
                </a:cubicBezTo>
                <a:cubicBezTo>
                  <a:pt x="9" y="14"/>
                  <a:pt x="9" y="14"/>
                  <a:pt x="9" y="14"/>
                </a:cubicBezTo>
                <a:cubicBezTo>
                  <a:pt x="5" y="9"/>
                  <a:pt x="5" y="9"/>
                  <a:pt x="5" y="9"/>
                </a:cubicBezTo>
                <a:cubicBezTo>
                  <a:pt x="0" y="9"/>
                  <a:pt x="0" y="9"/>
                  <a:pt x="0" y="9"/>
                </a:cubicBezTo>
                <a:cubicBezTo>
                  <a:pt x="1" y="9"/>
                  <a:pt x="1" y="9"/>
                  <a:pt x="1" y="9"/>
                </a:cubicBezTo>
                <a:cubicBezTo>
                  <a:pt x="8" y="18"/>
                  <a:pt x="8" y="18"/>
                  <a:pt x="8" y="18"/>
                </a:cubicBezTo>
                <a:cubicBezTo>
                  <a:pt x="8" y="19"/>
                  <a:pt x="9" y="19"/>
                  <a:pt x="9" y="19"/>
                </a:cubicBezTo>
                <a:cubicBezTo>
                  <a:pt x="9" y="19"/>
                  <a:pt x="9" y="19"/>
                  <a:pt x="9" y="19"/>
                </a:cubicBezTo>
                <a:cubicBezTo>
                  <a:pt x="10" y="19"/>
                  <a:pt x="10" y="19"/>
                  <a:pt x="11" y="18"/>
                </a:cubicBezTo>
                <a:cubicBezTo>
                  <a:pt x="21" y="3"/>
                  <a:pt x="21" y="3"/>
                  <a:pt x="21" y="3"/>
                </a:cubicBezTo>
                <a:cubicBezTo>
                  <a:pt x="21" y="2"/>
                  <a:pt x="21" y="1"/>
                  <a:pt x="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39" name="Freeform 173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5956926" y="3759421"/>
            <a:ext cx="264968" cy="264968"/>
          </a:xfrm>
          <a:custGeom>
            <a:avLst/>
            <a:gdLst>
              <a:gd name="T0" fmla="*/ 18 w 20"/>
              <a:gd name="T1" fmla="*/ 7 h 20"/>
              <a:gd name="T2" fmla="*/ 13 w 20"/>
              <a:gd name="T3" fmla="*/ 7 h 20"/>
              <a:gd name="T4" fmla="*/ 13 w 20"/>
              <a:gd name="T5" fmla="*/ 1 h 20"/>
              <a:gd name="T6" fmla="*/ 11 w 20"/>
              <a:gd name="T7" fmla="*/ 0 h 20"/>
              <a:gd name="T8" fmla="*/ 8 w 20"/>
              <a:gd name="T9" fmla="*/ 0 h 20"/>
              <a:gd name="T10" fmla="*/ 7 w 20"/>
              <a:gd name="T11" fmla="*/ 1 h 20"/>
              <a:gd name="T12" fmla="*/ 7 w 20"/>
              <a:gd name="T13" fmla="*/ 7 h 20"/>
              <a:gd name="T14" fmla="*/ 1 w 20"/>
              <a:gd name="T15" fmla="*/ 7 h 20"/>
              <a:gd name="T16" fmla="*/ 0 w 20"/>
              <a:gd name="T17" fmla="*/ 9 h 20"/>
              <a:gd name="T18" fmla="*/ 0 w 20"/>
              <a:gd name="T19" fmla="*/ 11 h 20"/>
              <a:gd name="T20" fmla="*/ 1 w 20"/>
              <a:gd name="T21" fmla="*/ 13 h 20"/>
              <a:gd name="T22" fmla="*/ 7 w 20"/>
              <a:gd name="T23" fmla="*/ 13 h 20"/>
              <a:gd name="T24" fmla="*/ 7 w 20"/>
              <a:gd name="T25" fmla="*/ 19 h 20"/>
              <a:gd name="T26" fmla="*/ 8 w 20"/>
              <a:gd name="T27" fmla="*/ 20 h 20"/>
              <a:gd name="T28" fmla="*/ 11 w 20"/>
              <a:gd name="T29" fmla="*/ 20 h 20"/>
              <a:gd name="T30" fmla="*/ 13 w 20"/>
              <a:gd name="T31" fmla="*/ 19 h 20"/>
              <a:gd name="T32" fmla="*/ 13 w 20"/>
              <a:gd name="T33" fmla="*/ 13 h 20"/>
              <a:gd name="T34" fmla="*/ 18 w 20"/>
              <a:gd name="T35" fmla="*/ 13 h 20"/>
              <a:gd name="T36" fmla="*/ 20 w 20"/>
              <a:gd name="T37" fmla="*/ 11 h 20"/>
              <a:gd name="T38" fmla="*/ 20 w 20"/>
              <a:gd name="T39" fmla="*/ 9 h 20"/>
              <a:gd name="T40" fmla="*/ 18 w 20"/>
              <a:gd name="T41" fmla="*/ 7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0" h="20">
                <a:moveTo>
                  <a:pt x="18" y="7"/>
                </a:moveTo>
                <a:cubicBezTo>
                  <a:pt x="13" y="7"/>
                  <a:pt x="13" y="7"/>
                  <a:pt x="13" y="7"/>
                </a:cubicBezTo>
                <a:cubicBezTo>
                  <a:pt x="13" y="1"/>
                  <a:pt x="13" y="1"/>
                  <a:pt x="13" y="1"/>
                </a:cubicBezTo>
                <a:cubicBezTo>
                  <a:pt x="13" y="1"/>
                  <a:pt x="12" y="0"/>
                  <a:pt x="11" y="0"/>
                </a:cubicBezTo>
                <a:cubicBezTo>
                  <a:pt x="8" y="0"/>
                  <a:pt x="8" y="0"/>
                  <a:pt x="8" y="0"/>
                </a:cubicBezTo>
                <a:cubicBezTo>
                  <a:pt x="8" y="0"/>
                  <a:pt x="7" y="1"/>
                  <a:pt x="7" y="1"/>
                </a:cubicBezTo>
                <a:cubicBezTo>
                  <a:pt x="7" y="7"/>
                  <a:pt x="7" y="7"/>
                  <a:pt x="7" y="7"/>
                </a:cubicBezTo>
                <a:cubicBezTo>
                  <a:pt x="1" y="7"/>
                  <a:pt x="1" y="7"/>
                  <a:pt x="1" y="7"/>
                </a:cubicBezTo>
                <a:cubicBezTo>
                  <a:pt x="0" y="7"/>
                  <a:pt x="0" y="8"/>
                  <a:pt x="0" y="9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2"/>
                  <a:pt x="0" y="13"/>
                  <a:pt x="1" y="13"/>
                </a:cubicBezTo>
                <a:cubicBezTo>
                  <a:pt x="7" y="13"/>
                  <a:pt x="7" y="13"/>
                  <a:pt x="7" y="13"/>
                </a:cubicBezTo>
                <a:cubicBezTo>
                  <a:pt x="7" y="19"/>
                  <a:pt x="7" y="19"/>
                  <a:pt x="7" y="19"/>
                </a:cubicBezTo>
                <a:cubicBezTo>
                  <a:pt x="7" y="20"/>
                  <a:pt x="8" y="20"/>
                  <a:pt x="8" y="20"/>
                </a:cubicBezTo>
                <a:cubicBezTo>
                  <a:pt x="11" y="20"/>
                  <a:pt x="11" y="20"/>
                  <a:pt x="11" y="20"/>
                </a:cubicBezTo>
                <a:cubicBezTo>
                  <a:pt x="12" y="20"/>
                  <a:pt x="13" y="20"/>
                  <a:pt x="13" y="19"/>
                </a:cubicBezTo>
                <a:cubicBezTo>
                  <a:pt x="13" y="13"/>
                  <a:pt x="13" y="13"/>
                  <a:pt x="13" y="13"/>
                </a:cubicBezTo>
                <a:cubicBezTo>
                  <a:pt x="18" y="13"/>
                  <a:pt x="18" y="13"/>
                  <a:pt x="18" y="13"/>
                </a:cubicBezTo>
                <a:cubicBezTo>
                  <a:pt x="19" y="13"/>
                  <a:pt x="20" y="12"/>
                  <a:pt x="20" y="11"/>
                </a:cubicBezTo>
                <a:cubicBezTo>
                  <a:pt x="20" y="9"/>
                  <a:pt x="20" y="9"/>
                  <a:pt x="20" y="9"/>
                </a:cubicBezTo>
                <a:cubicBezTo>
                  <a:pt x="20" y="8"/>
                  <a:pt x="19" y="7"/>
                  <a:pt x="18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27" name="Text Placeholder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540787" y="1424011"/>
            <a:ext cx="2564499" cy="839204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>
            <a:defPPr>
              <a:defRPr lang="zh-CN"/>
            </a:defPPr>
            <a:lvl1pPr lvl="0" algn="r">
              <a:lnSpc>
                <a:spcPct val="80000"/>
              </a:lnSpc>
              <a:defRPr sz="3200" b="1">
                <a:solidFill>
                  <a:schemeClr val="tx1">
                    <a:lumMod val="85000"/>
                    <a:lumOff val="15000"/>
                  </a:schemeClr>
                </a:solidFill>
                <a:ea typeface="Open Sans SemiBold" panose="020B0706030804020204"/>
                <a:cs typeface="Open Sans SemiBold" panose="020B0706030804020204"/>
              </a:defRPr>
            </a:lvl1pPr>
          </a:lstStyle>
          <a:p>
            <a:r>
              <a:rPr lang="en-US" altLang="zh-CN" dirty="0">
                <a:ea typeface="微软雅黑" panose="020B0503020204020204" pitchFamily="34" charset="-122"/>
                <a:cs typeface="等线" panose="02010600030101010101" charset="-122"/>
              </a:rPr>
              <a:t>Map</a:t>
            </a:r>
          </a:p>
          <a:p>
            <a:r>
              <a:rPr lang="en-US" dirty="0">
                <a:ea typeface="微软雅黑" panose="020B0503020204020204" pitchFamily="34" charset="-122"/>
                <a:cs typeface="等线" panose="02010600030101010101" charset="-122"/>
              </a:rPr>
              <a:t>Infographic</a:t>
            </a:r>
            <a:endParaRPr lang="id-ID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grpSp>
        <p:nvGrpSpPr>
          <p:cNvPr id="28" name="组合 2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901320" y="4213782"/>
            <a:ext cx="3338879" cy="965511"/>
            <a:chOff x="6674548" y="1842106"/>
            <a:chExt cx="4694544" cy="1357531"/>
          </a:xfrm>
        </p:grpSpPr>
        <p:grpSp>
          <p:nvGrpSpPr>
            <p:cNvPr id="29" name="Group 11"/>
            <p:cNvGrpSpPr/>
            <p:nvPr/>
          </p:nvGrpSpPr>
          <p:grpSpPr>
            <a:xfrm>
              <a:off x="6674548" y="1842106"/>
              <a:ext cx="3376232" cy="1357531"/>
              <a:chOff x="6674548" y="1842106"/>
              <a:chExt cx="3376232" cy="1357531"/>
            </a:xfrm>
          </p:grpSpPr>
          <p:grpSp>
            <p:nvGrpSpPr>
              <p:cNvPr id="72" name="Group 58"/>
              <p:cNvGrpSpPr/>
              <p:nvPr/>
            </p:nvGrpSpPr>
            <p:grpSpPr>
              <a:xfrm>
                <a:off x="8995267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24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25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73" name="Group 31"/>
              <p:cNvGrpSpPr/>
              <p:nvPr/>
            </p:nvGrpSpPr>
            <p:grpSpPr>
              <a:xfrm>
                <a:off x="7439277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22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23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74" name="Group 34"/>
              <p:cNvGrpSpPr/>
              <p:nvPr/>
            </p:nvGrpSpPr>
            <p:grpSpPr>
              <a:xfrm>
                <a:off x="7435023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20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21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75" name="Group 37"/>
              <p:cNvGrpSpPr/>
              <p:nvPr/>
            </p:nvGrpSpPr>
            <p:grpSpPr>
              <a:xfrm>
                <a:off x="7829338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18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19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76" name="Group 40"/>
              <p:cNvGrpSpPr/>
              <p:nvPr/>
            </p:nvGrpSpPr>
            <p:grpSpPr>
              <a:xfrm>
                <a:off x="7825084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16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17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77" name="Group 43"/>
              <p:cNvGrpSpPr/>
              <p:nvPr/>
            </p:nvGrpSpPr>
            <p:grpSpPr>
              <a:xfrm>
                <a:off x="8219399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14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15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78" name="Group 46"/>
              <p:cNvGrpSpPr/>
              <p:nvPr/>
            </p:nvGrpSpPr>
            <p:grpSpPr>
              <a:xfrm>
                <a:off x="8215145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12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13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79" name="Group 49"/>
              <p:cNvGrpSpPr/>
              <p:nvPr/>
            </p:nvGrpSpPr>
            <p:grpSpPr>
              <a:xfrm>
                <a:off x="8609460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10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11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80" name="Group 52"/>
              <p:cNvGrpSpPr/>
              <p:nvPr/>
            </p:nvGrpSpPr>
            <p:grpSpPr>
              <a:xfrm>
                <a:off x="8605206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08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09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81" name="Group 55"/>
              <p:cNvGrpSpPr/>
              <p:nvPr/>
            </p:nvGrpSpPr>
            <p:grpSpPr>
              <a:xfrm>
                <a:off x="8999521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06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07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82" name="Group 61"/>
              <p:cNvGrpSpPr/>
              <p:nvPr/>
            </p:nvGrpSpPr>
            <p:grpSpPr>
              <a:xfrm>
                <a:off x="9389582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04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05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83" name="Group 64"/>
              <p:cNvGrpSpPr/>
              <p:nvPr/>
            </p:nvGrpSpPr>
            <p:grpSpPr>
              <a:xfrm>
                <a:off x="9385328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02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03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84" name="Group 67"/>
              <p:cNvGrpSpPr/>
              <p:nvPr/>
            </p:nvGrpSpPr>
            <p:grpSpPr>
              <a:xfrm>
                <a:off x="9779643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00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101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85" name="Group 70"/>
              <p:cNvGrpSpPr/>
              <p:nvPr/>
            </p:nvGrpSpPr>
            <p:grpSpPr>
              <a:xfrm>
                <a:off x="9775389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98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99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86" name="Group 134"/>
              <p:cNvGrpSpPr/>
              <p:nvPr/>
            </p:nvGrpSpPr>
            <p:grpSpPr>
              <a:xfrm>
                <a:off x="6678802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96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97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87" name="Group 137"/>
              <p:cNvGrpSpPr/>
              <p:nvPr/>
            </p:nvGrpSpPr>
            <p:grpSpPr>
              <a:xfrm>
                <a:off x="6674548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94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95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88" name="Group 140"/>
              <p:cNvGrpSpPr/>
              <p:nvPr/>
            </p:nvGrpSpPr>
            <p:grpSpPr>
              <a:xfrm>
                <a:off x="7068863" y="2591953"/>
                <a:ext cx="271137" cy="607684"/>
                <a:chOff x="3327401" y="4335463"/>
                <a:chExt cx="407988" cy="914400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92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93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89" name="Group 143"/>
              <p:cNvGrpSpPr/>
              <p:nvPr/>
            </p:nvGrpSpPr>
            <p:grpSpPr>
              <a:xfrm>
                <a:off x="7064609" y="1842106"/>
                <a:ext cx="231047" cy="591857"/>
                <a:chOff x="3647164" y="2464482"/>
                <a:chExt cx="231047" cy="591857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90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91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</p:grpSp>
        <p:grpSp>
          <p:nvGrpSpPr>
            <p:cNvPr id="30" name="Group 26"/>
            <p:cNvGrpSpPr/>
            <p:nvPr/>
          </p:nvGrpSpPr>
          <p:grpSpPr>
            <a:xfrm>
              <a:off x="8995267" y="1842106"/>
              <a:ext cx="1011169" cy="591857"/>
              <a:chOff x="8995267" y="1842106"/>
              <a:chExt cx="1011169" cy="591857"/>
            </a:xfrm>
          </p:grpSpPr>
          <p:grpSp>
            <p:nvGrpSpPr>
              <p:cNvPr id="54" name="Group 105"/>
              <p:cNvGrpSpPr/>
              <p:nvPr/>
            </p:nvGrpSpPr>
            <p:grpSpPr>
              <a:xfrm>
                <a:off x="8995267" y="1842106"/>
                <a:ext cx="231047" cy="591857"/>
                <a:chOff x="3647164" y="2464482"/>
                <a:chExt cx="231047" cy="591857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70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71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55" name="Group 107"/>
              <p:cNvGrpSpPr/>
              <p:nvPr/>
            </p:nvGrpSpPr>
            <p:grpSpPr>
              <a:xfrm>
                <a:off x="9385328" y="1842106"/>
                <a:ext cx="231047" cy="591857"/>
                <a:chOff x="3647164" y="2464482"/>
                <a:chExt cx="231047" cy="591857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68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69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56" name="Group 109"/>
              <p:cNvGrpSpPr/>
              <p:nvPr/>
            </p:nvGrpSpPr>
            <p:grpSpPr>
              <a:xfrm>
                <a:off x="9775389" y="1842106"/>
                <a:ext cx="231047" cy="591857"/>
                <a:chOff x="3647164" y="2464482"/>
                <a:chExt cx="231047" cy="591857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57" name="Freeform 56"/>
                <p:cNvSpPr/>
                <p:nvPr/>
              </p:nvSpPr>
              <p:spPr bwMode="auto">
                <a:xfrm>
                  <a:off x="3716795" y="2464482"/>
                  <a:ext cx="96006" cy="96006"/>
                </a:xfrm>
                <a:custGeom>
                  <a:avLst/>
                  <a:gdLst>
                    <a:gd name="T0" fmla="*/ 262 w 273"/>
                    <a:gd name="T1" fmla="*/ 182 h 271"/>
                    <a:gd name="T2" fmla="*/ 266 w 273"/>
                    <a:gd name="T3" fmla="*/ 173 h 271"/>
                    <a:gd name="T4" fmla="*/ 269 w 273"/>
                    <a:gd name="T5" fmla="*/ 165 h 271"/>
                    <a:gd name="T6" fmla="*/ 272 w 273"/>
                    <a:gd name="T7" fmla="*/ 155 h 271"/>
                    <a:gd name="T8" fmla="*/ 273 w 273"/>
                    <a:gd name="T9" fmla="*/ 146 h 271"/>
                    <a:gd name="T10" fmla="*/ 273 w 273"/>
                    <a:gd name="T11" fmla="*/ 137 h 271"/>
                    <a:gd name="T12" fmla="*/ 273 w 273"/>
                    <a:gd name="T13" fmla="*/ 127 h 271"/>
                    <a:gd name="T14" fmla="*/ 272 w 273"/>
                    <a:gd name="T15" fmla="*/ 119 h 271"/>
                    <a:gd name="T16" fmla="*/ 270 w 273"/>
                    <a:gd name="T17" fmla="*/ 110 h 271"/>
                    <a:gd name="T18" fmla="*/ 265 w 273"/>
                    <a:gd name="T19" fmla="*/ 92 h 271"/>
                    <a:gd name="T20" fmla="*/ 257 w 273"/>
                    <a:gd name="T21" fmla="*/ 76 h 271"/>
                    <a:gd name="T22" fmla="*/ 246 w 273"/>
                    <a:gd name="T23" fmla="*/ 60 h 271"/>
                    <a:gd name="T24" fmla="*/ 236 w 273"/>
                    <a:gd name="T25" fmla="*/ 45 h 271"/>
                    <a:gd name="T26" fmla="*/ 222 w 273"/>
                    <a:gd name="T27" fmla="*/ 33 h 271"/>
                    <a:gd name="T28" fmla="*/ 207 w 273"/>
                    <a:gd name="T29" fmla="*/ 23 h 271"/>
                    <a:gd name="T30" fmla="*/ 191 w 273"/>
                    <a:gd name="T31" fmla="*/ 13 h 271"/>
                    <a:gd name="T32" fmla="*/ 174 w 273"/>
                    <a:gd name="T33" fmla="*/ 6 h 271"/>
                    <a:gd name="T34" fmla="*/ 165 w 273"/>
                    <a:gd name="T35" fmla="*/ 4 h 271"/>
                    <a:gd name="T36" fmla="*/ 157 w 273"/>
                    <a:gd name="T37" fmla="*/ 1 h 271"/>
                    <a:gd name="T38" fmla="*/ 147 w 273"/>
                    <a:gd name="T39" fmla="*/ 0 h 271"/>
                    <a:gd name="T40" fmla="*/ 138 w 273"/>
                    <a:gd name="T41" fmla="*/ 0 h 271"/>
                    <a:gd name="T42" fmla="*/ 128 w 273"/>
                    <a:gd name="T43" fmla="*/ 0 h 271"/>
                    <a:gd name="T44" fmla="*/ 119 w 273"/>
                    <a:gd name="T45" fmla="*/ 1 h 271"/>
                    <a:gd name="T46" fmla="*/ 110 w 273"/>
                    <a:gd name="T47" fmla="*/ 2 h 271"/>
                    <a:gd name="T48" fmla="*/ 100 w 273"/>
                    <a:gd name="T49" fmla="*/ 5 h 271"/>
                    <a:gd name="T50" fmla="*/ 92 w 273"/>
                    <a:gd name="T51" fmla="*/ 6 h 271"/>
                    <a:gd name="T52" fmla="*/ 84 w 273"/>
                    <a:gd name="T53" fmla="*/ 9 h 271"/>
                    <a:gd name="T54" fmla="*/ 76 w 273"/>
                    <a:gd name="T55" fmla="*/ 13 h 271"/>
                    <a:gd name="T56" fmla="*/ 68 w 273"/>
                    <a:gd name="T57" fmla="*/ 17 h 271"/>
                    <a:gd name="T58" fmla="*/ 53 w 273"/>
                    <a:gd name="T59" fmla="*/ 27 h 271"/>
                    <a:gd name="T60" fmla="*/ 41 w 273"/>
                    <a:gd name="T61" fmla="*/ 37 h 271"/>
                    <a:gd name="T62" fmla="*/ 29 w 273"/>
                    <a:gd name="T63" fmla="*/ 49 h 271"/>
                    <a:gd name="T64" fmla="*/ 20 w 273"/>
                    <a:gd name="T65" fmla="*/ 64 h 271"/>
                    <a:gd name="T66" fmla="*/ 12 w 273"/>
                    <a:gd name="T67" fmla="*/ 79 h 271"/>
                    <a:gd name="T68" fmla="*/ 6 w 273"/>
                    <a:gd name="T69" fmla="*/ 95 h 271"/>
                    <a:gd name="T70" fmla="*/ 2 w 273"/>
                    <a:gd name="T71" fmla="*/ 112 h 271"/>
                    <a:gd name="T72" fmla="*/ 0 w 273"/>
                    <a:gd name="T73" fmla="*/ 129 h 271"/>
                    <a:gd name="T74" fmla="*/ 0 w 273"/>
                    <a:gd name="T75" fmla="*/ 146 h 271"/>
                    <a:gd name="T76" fmla="*/ 2 w 273"/>
                    <a:gd name="T77" fmla="*/ 163 h 271"/>
                    <a:gd name="T78" fmla="*/ 6 w 273"/>
                    <a:gd name="T79" fmla="*/ 179 h 271"/>
                    <a:gd name="T80" fmla="*/ 12 w 273"/>
                    <a:gd name="T81" fmla="*/ 196 h 271"/>
                    <a:gd name="T82" fmla="*/ 21 w 273"/>
                    <a:gd name="T83" fmla="*/ 210 h 271"/>
                    <a:gd name="T84" fmla="*/ 32 w 273"/>
                    <a:gd name="T85" fmla="*/ 224 h 271"/>
                    <a:gd name="T86" fmla="*/ 39 w 273"/>
                    <a:gd name="T87" fmla="*/ 232 h 271"/>
                    <a:gd name="T88" fmla="*/ 44 w 273"/>
                    <a:gd name="T89" fmla="*/ 238 h 271"/>
                    <a:gd name="T90" fmla="*/ 51 w 273"/>
                    <a:gd name="T91" fmla="*/ 244 h 271"/>
                    <a:gd name="T92" fmla="*/ 59 w 273"/>
                    <a:gd name="T93" fmla="*/ 249 h 271"/>
                    <a:gd name="T94" fmla="*/ 73 w 273"/>
                    <a:gd name="T95" fmla="*/ 259 h 271"/>
                    <a:gd name="T96" fmla="*/ 89 w 273"/>
                    <a:gd name="T97" fmla="*/ 264 h 271"/>
                    <a:gd name="T98" fmla="*/ 107 w 273"/>
                    <a:gd name="T99" fmla="*/ 269 h 271"/>
                    <a:gd name="T100" fmla="*/ 124 w 273"/>
                    <a:gd name="T101" fmla="*/ 271 h 271"/>
                    <a:gd name="T102" fmla="*/ 142 w 273"/>
                    <a:gd name="T103" fmla="*/ 271 h 271"/>
                    <a:gd name="T104" fmla="*/ 159 w 273"/>
                    <a:gd name="T105" fmla="*/ 269 h 271"/>
                    <a:gd name="T106" fmla="*/ 177 w 273"/>
                    <a:gd name="T107" fmla="*/ 265 h 271"/>
                    <a:gd name="T108" fmla="*/ 193 w 273"/>
                    <a:gd name="T109" fmla="*/ 259 h 271"/>
                    <a:gd name="T110" fmla="*/ 209 w 273"/>
                    <a:gd name="T111" fmla="*/ 251 h 271"/>
                    <a:gd name="T112" fmla="*/ 224 w 273"/>
                    <a:gd name="T113" fmla="*/ 240 h 271"/>
                    <a:gd name="T114" fmla="*/ 236 w 273"/>
                    <a:gd name="T115" fmla="*/ 229 h 271"/>
                    <a:gd name="T116" fmla="*/ 248 w 273"/>
                    <a:gd name="T117" fmla="*/ 214 h 271"/>
                    <a:gd name="T118" fmla="*/ 252 w 273"/>
                    <a:gd name="T119" fmla="*/ 208 h 271"/>
                    <a:gd name="T120" fmla="*/ 256 w 273"/>
                    <a:gd name="T121" fmla="*/ 200 h 271"/>
                    <a:gd name="T122" fmla="*/ 260 w 273"/>
                    <a:gd name="T123" fmla="*/ 192 h 271"/>
                    <a:gd name="T124" fmla="*/ 262 w 273"/>
                    <a:gd name="T125" fmla="*/ 182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73" h="271">
                      <a:moveTo>
                        <a:pt x="262" y="182"/>
                      </a:moveTo>
                      <a:lnTo>
                        <a:pt x="266" y="173"/>
                      </a:lnTo>
                      <a:lnTo>
                        <a:pt x="269" y="165"/>
                      </a:lnTo>
                      <a:lnTo>
                        <a:pt x="272" y="155"/>
                      </a:lnTo>
                      <a:lnTo>
                        <a:pt x="273" y="146"/>
                      </a:lnTo>
                      <a:lnTo>
                        <a:pt x="273" y="137"/>
                      </a:lnTo>
                      <a:lnTo>
                        <a:pt x="273" y="127"/>
                      </a:lnTo>
                      <a:lnTo>
                        <a:pt x="272" y="119"/>
                      </a:lnTo>
                      <a:lnTo>
                        <a:pt x="270" y="110"/>
                      </a:lnTo>
                      <a:lnTo>
                        <a:pt x="265" y="92"/>
                      </a:lnTo>
                      <a:lnTo>
                        <a:pt x="257" y="76"/>
                      </a:lnTo>
                      <a:lnTo>
                        <a:pt x="246" y="60"/>
                      </a:lnTo>
                      <a:lnTo>
                        <a:pt x="236" y="45"/>
                      </a:lnTo>
                      <a:lnTo>
                        <a:pt x="222" y="33"/>
                      </a:lnTo>
                      <a:lnTo>
                        <a:pt x="207" y="23"/>
                      </a:lnTo>
                      <a:lnTo>
                        <a:pt x="191" y="13"/>
                      </a:lnTo>
                      <a:lnTo>
                        <a:pt x="174" y="6"/>
                      </a:lnTo>
                      <a:lnTo>
                        <a:pt x="165" y="4"/>
                      </a:lnTo>
                      <a:lnTo>
                        <a:pt x="157" y="1"/>
                      </a:lnTo>
                      <a:lnTo>
                        <a:pt x="147" y="0"/>
                      </a:lnTo>
                      <a:lnTo>
                        <a:pt x="138" y="0"/>
                      </a:lnTo>
                      <a:lnTo>
                        <a:pt x="128" y="0"/>
                      </a:lnTo>
                      <a:lnTo>
                        <a:pt x="119" y="1"/>
                      </a:lnTo>
                      <a:lnTo>
                        <a:pt x="110" y="2"/>
                      </a:lnTo>
                      <a:lnTo>
                        <a:pt x="100" y="5"/>
                      </a:lnTo>
                      <a:lnTo>
                        <a:pt x="92" y="6"/>
                      </a:lnTo>
                      <a:lnTo>
                        <a:pt x="84" y="9"/>
                      </a:lnTo>
                      <a:lnTo>
                        <a:pt x="76" y="13"/>
                      </a:lnTo>
                      <a:lnTo>
                        <a:pt x="68" y="17"/>
                      </a:lnTo>
                      <a:lnTo>
                        <a:pt x="53" y="27"/>
                      </a:lnTo>
                      <a:lnTo>
                        <a:pt x="41" y="37"/>
                      </a:lnTo>
                      <a:lnTo>
                        <a:pt x="29" y="49"/>
                      </a:lnTo>
                      <a:lnTo>
                        <a:pt x="20" y="64"/>
                      </a:lnTo>
                      <a:lnTo>
                        <a:pt x="12" y="79"/>
                      </a:lnTo>
                      <a:lnTo>
                        <a:pt x="6" y="95"/>
                      </a:lnTo>
                      <a:lnTo>
                        <a:pt x="2" y="112"/>
                      </a:lnTo>
                      <a:lnTo>
                        <a:pt x="0" y="129"/>
                      </a:lnTo>
                      <a:lnTo>
                        <a:pt x="0" y="146"/>
                      </a:lnTo>
                      <a:lnTo>
                        <a:pt x="2" y="163"/>
                      </a:lnTo>
                      <a:lnTo>
                        <a:pt x="6" y="179"/>
                      </a:lnTo>
                      <a:lnTo>
                        <a:pt x="12" y="196"/>
                      </a:lnTo>
                      <a:lnTo>
                        <a:pt x="21" y="210"/>
                      </a:lnTo>
                      <a:lnTo>
                        <a:pt x="32" y="224"/>
                      </a:lnTo>
                      <a:lnTo>
                        <a:pt x="39" y="232"/>
                      </a:lnTo>
                      <a:lnTo>
                        <a:pt x="44" y="238"/>
                      </a:lnTo>
                      <a:lnTo>
                        <a:pt x="51" y="244"/>
                      </a:lnTo>
                      <a:lnTo>
                        <a:pt x="59" y="249"/>
                      </a:lnTo>
                      <a:lnTo>
                        <a:pt x="73" y="259"/>
                      </a:lnTo>
                      <a:lnTo>
                        <a:pt x="89" y="264"/>
                      </a:lnTo>
                      <a:lnTo>
                        <a:pt x="107" y="269"/>
                      </a:lnTo>
                      <a:lnTo>
                        <a:pt x="124" y="271"/>
                      </a:lnTo>
                      <a:lnTo>
                        <a:pt x="142" y="271"/>
                      </a:lnTo>
                      <a:lnTo>
                        <a:pt x="159" y="269"/>
                      </a:lnTo>
                      <a:lnTo>
                        <a:pt x="177" y="265"/>
                      </a:lnTo>
                      <a:lnTo>
                        <a:pt x="193" y="259"/>
                      </a:lnTo>
                      <a:lnTo>
                        <a:pt x="209" y="251"/>
                      </a:lnTo>
                      <a:lnTo>
                        <a:pt x="224" y="240"/>
                      </a:lnTo>
                      <a:lnTo>
                        <a:pt x="236" y="229"/>
                      </a:lnTo>
                      <a:lnTo>
                        <a:pt x="248" y="214"/>
                      </a:lnTo>
                      <a:lnTo>
                        <a:pt x="252" y="208"/>
                      </a:lnTo>
                      <a:lnTo>
                        <a:pt x="256" y="200"/>
                      </a:lnTo>
                      <a:lnTo>
                        <a:pt x="260" y="192"/>
                      </a:lnTo>
                      <a:lnTo>
                        <a:pt x="262" y="18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58" name="Freeform 57"/>
                <p:cNvSpPr/>
                <p:nvPr/>
              </p:nvSpPr>
              <p:spPr bwMode="auto">
                <a:xfrm>
                  <a:off x="3647164" y="2569982"/>
                  <a:ext cx="231047" cy="486357"/>
                </a:xfrm>
                <a:custGeom>
                  <a:avLst/>
                  <a:gdLst>
                    <a:gd name="T0" fmla="*/ 566 w 658"/>
                    <a:gd name="T1" fmla="*/ 20 h 1383"/>
                    <a:gd name="T2" fmla="*/ 506 w 658"/>
                    <a:gd name="T3" fmla="*/ 4 h 1383"/>
                    <a:gd name="T4" fmla="*/ 396 w 658"/>
                    <a:gd name="T5" fmla="*/ 0 h 1383"/>
                    <a:gd name="T6" fmla="*/ 259 w 658"/>
                    <a:gd name="T7" fmla="*/ 0 h 1383"/>
                    <a:gd name="T8" fmla="*/ 136 w 658"/>
                    <a:gd name="T9" fmla="*/ 8 h 1383"/>
                    <a:gd name="T10" fmla="*/ 74 w 658"/>
                    <a:gd name="T11" fmla="*/ 27 h 1383"/>
                    <a:gd name="T12" fmla="*/ 40 w 658"/>
                    <a:gd name="T13" fmla="*/ 53 h 1383"/>
                    <a:gd name="T14" fmla="*/ 16 w 658"/>
                    <a:gd name="T15" fmla="*/ 90 h 1383"/>
                    <a:gd name="T16" fmla="*/ 4 w 658"/>
                    <a:gd name="T17" fmla="*/ 131 h 1383"/>
                    <a:gd name="T18" fmla="*/ 2 w 658"/>
                    <a:gd name="T19" fmla="*/ 220 h 1383"/>
                    <a:gd name="T20" fmla="*/ 0 w 658"/>
                    <a:gd name="T21" fmla="*/ 448 h 1383"/>
                    <a:gd name="T22" fmla="*/ 2 w 658"/>
                    <a:gd name="T23" fmla="*/ 629 h 1383"/>
                    <a:gd name="T24" fmla="*/ 19 w 658"/>
                    <a:gd name="T25" fmla="*/ 665 h 1383"/>
                    <a:gd name="T26" fmla="*/ 42 w 658"/>
                    <a:gd name="T27" fmla="*/ 676 h 1383"/>
                    <a:gd name="T28" fmla="*/ 73 w 658"/>
                    <a:gd name="T29" fmla="*/ 676 h 1383"/>
                    <a:gd name="T30" fmla="*/ 97 w 658"/>
                    <a:gd name="T31" fmla="*/ 657 h 1383"/>
                    <a:gd name="T32" fmla="*/ 117 w 658"/>
                    <a:gd name="T33" fmla="*/ 602 h 1383"/>
                    <a:gd name="T34" fmla="*/ 118 w 658"/>
                    <a:gd name="T35" fmla="*/ 452 h 1383"/>
                    <a:gd name="T36" fmla="*/ 118 w 658"/>
                    <a:gd name="T37" fmla="*/ 273 h 1383"/>
                    <a:gd name="T38" fmla="*/ 153 w 658"/>
                    <a:gd name="T39" fmla="*/ 296 h 1383"/>
                    <a:gd name="T40" fmla="*/ 153 w 658"/>
                    <a:gd name="T41" fmla="*/ 566 h 1383"/>
                    <a:gd name="T42" fmla="*/ 153 w 658"/>
                    <a:gd name="T43" fmla="*/ 836 h 1383"/>
                    <a:gd name="T44" fmla="*/ 153 w 658"/>
                    <a:gd name="T45" fmla="*/ 1107 h 1383"/>
                    <a:gd name="T46" fmla="*/ 154 w 658"/>
                    <a:gd name="T47" fmla="*/ 1323 h 1383"/>
                    <a:gd name="T48" fmla="*/ 175 w 658"/>
                    <a:gd name="T49" fmla="*/ 1363 h 1383"/>
                    <a:gd name="T50" fmla="*/ 215 w 658"/>
                    <a:gd name="T51" fmla="*/ 1382 h 1383"/>
                    <a:gd name="T52" fmla="*/ 262 w 658"/>
                    <a:gd name="T53" fmla="*/ 1379 h 1383"/>
                    <a:gd name="T54" fmla="*/ 299 w 658"/>
                    <a:gd name="T55" fmla="*/ 1349 h 1383"/>
                    <a:gd name="T56" fmla="*/ 311 w 658"/>
                    <a:gd name="T57" fmla="*/ 1272 h 1383"/>
                    <a:gd name="T58" fmla="*/ 311 w 658"/>
                    <a:gd name="T59" fmla="*/ 1030 h 1383"/>
                    <a:gd name="T60" fmla="*/ 313 w 658"/>
                    <a:gd name="T61" fmla="*/ 745 h 1383"/>
                    <a:gd name="T62" fmla="*/ 347 w 658"/>
                    <a:gd name="T63" fmla="*/ 756 h 1383"/>
                    <a:gd name="T64" fmla="*/ 347 w 658"/>
                    <a:gd name="T65" fmla="*/ 1082 h 1383"/>
                    <a:gd name="T66" fmla="*/ 350 w 658"/>
                    <a:gd name="T67" fmla="*/ 1333 h 1383"/>
                    <a:gd name="T68" fmla="*/ 361 w 658"/>
                    <a:gd name="T69" fmla="*/ 1359 h 1383"/>
                    <a:gd name="T70" fmla="*/ 388 w 658"/>
                    <a:gd name="T71" fmla="*/ 1378 h 1383"/>
                    <a:gd name="T72" fmla="*/ 444 w 658"/>
                    <a:gd name="T73" fmla="*/ 1379 h 1383"/>
                    <a:gd name="T74" fmla="*/ 484 w 658"/>
                    <a:gd name="T75" fmla="*/ 1355 h 1383"/>
                    <a:gd name="T76" fmla="*/ 496 w 658"/>
                    <a:gd name="T77" fmla="*/ 1331 h 1383"/>
                    <a:gd name="T78" fmla="*/ 499 w 658"/>
                    <a:gd name="T79" fmla="*/ 1240 h 1383"/>
                    <a:gd name="T80" fmla="*/ 499 w 658"/>
                    <a:gd name="T81" fmla="*/ 971 h 1383"/>
                    <a:gd name="T82" fmla="*/ 499 w 658"/>
                    <a:gd name="T83" fmla="*/ 700 h 1383"/>
                    <a:gd name="T84" fmla="*/ 499 w 658"/>
                    <a:gd name="T85" fmla="*/ 429 h 1383"/>
                    <a:gd name="T86" fmla="*/ 510 w 658"/>
                    <a:gd name="T87" fmla="*/ 226 h 1383"/>
                    <a:gd name="T88" fmla="*/ 542 w 658"/>
                    <a:gd name="T89" fmla="*/ 273 h 1383"/>
                    <a:gd name="T90" fmla="*/ 542 w 658"/>
                    <a:gd name="T91" fmla="*/ 461 h 1383"/>
                    <a:gd name="T92" fmla="*/ 543 w 658"/>
                    <a:gd name="T93" fmla="*/ 617 h 1383"/>
                    <a:gd name="T94" fmla="*/ 565 w 658"/>
                    <a:gd name="T95" fmla="*/ 662 h 1383"/>
                    <a:gd name="T96" fmla="*/ 589 w 658"/>
                    <a:gd name="T97" fmla="*/ 676 h 1383"/>
                    <a:gd name="T98" fmla="*/ 618 w 658"/>
                    <a:gd name="T99" fmla="*/ 676 h 1383"/>
                    <a:gd name="T100" fmla="*/ 638 w 658"/>
                    <a:gd name="T101" fmla="*/ 665 h 1383"/>
                    <a:gd name="T102" fmla="*/ 653 w 658"/>
                    <a:gd name="T103" fmla="*/ 639 h 1383"/>
                    <a:gd name="T104" fmla="*/ 658 w 658"/>
                    <a:gd name="T105" fmla="*/ 555 h 1383"/>
                    <a:gd name="T106" fmla="*/ 658 w 658"/>
                    <a:gd name="T107" fmla="*/ 360 h 1383"/>
                    <a:gd name="T108" fmla="*/ 658 w 658"/>
                    <a:gd name="T109" fmla="*/ 192 h 1383"/>
                    <a:gd name="T110" fmla="*/ 648 w 658"/>
                    <a:gd name="T111" fmla="*/ 111 h 1383"/>
                    <a:gd name="T112" fmla="*/ 629 w 658"/>
                    <a:gd name="T113" fmla="*/ 71 h 13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58" h="1383">
                      <a:moveTo>
                        <a:pt x="605" y="45"/>
                      </a:moveTo>
                      <a:lnTo>
                        <a:pt x="593" y="36"/>
                      </a:lnTo>
                      <a:lnTo>
                        <a:pt x="579" y="27"/>
                      </a:lnTo>
                      <a:lnTo>
                        <a:pt x="566" y="20"/>
                      </a:lnTo>
                      <a:lnTo>
                        <a:pt x="551" y="15"/>
                      </a:lnTo>
                      <a:lnTo>
                        <a:pt x="536" y="11"/>
                      </a:lnTo>
                      <a:lnTo>
                        <a:pt x="522" y="6"/>
                      </a:lnTo>
                      <a:lnTo>
                        <a:pt x="506" y="4"/>
                      </a:lnTo>
                      <a:lnTo>
                        <a:pt x="491" y="2"/>
                      </a:lnTo>
                      <a:lnTo>
                        <a:pt x="459" y="0"/>
                      </a:lnTo>
                      <a:lnTo>
                        <a:pt x="427" y="0"/>
                      </a:lnTo>
                      <a:lnTo>
                        <a:pt x="396" y="0"/>
                      </a:lnTo>
                      <a:lnTo>
                        <a:pt x="365" y="0"/>
                      </a:lnTo>
                      <a:lnTo>
                        <a:pt x="330" y="1"/>
                      </a:lnTo>
                      <a:lnTo>
                        <a:pt x="294" y="0"/>
                      </a:lnTo>
                      <a:lnTo>
                        <a:pt x="259" y="0"/>
                      </a:lnTo>
                      <a:lnTo>
                        <a:pt x="223" y="0"/>
                      </a:lnTo>
                      <a:lnTo>
                        <a:pt x="188" y="1"/>
                      </a:lnTo>
                      <a:lnTo>
                        <a:pt x="153" y="4"/>
                      </a:lnTo>
                      <a:lnTo>
                        <a:pt x="136" y="8"/>
                      </a:lnTo>
                      <a:lnTo>
                        <a:pt x="118" y="12"/>
                      </a:lnTo>
                      <a:lnTo>
                        <a:pt x="101" y="16"/>
                      </a:lnTo>
                      <a:lnTo>
                        <a:pt x="85" y="23"/>
                      </a:lnTo>
                      <a:lnTo>
                        <a:pt x="74" y="27"/>
                      </a:lnTo>
                      <a:lnTo>
                        <a:pt x="65" y="32"/>
                      </a:lnTo>
                      <a:lnTo>
                        <a:pt x="55" y="39"/>
                      </a:lnTo>
                      <a:lnTo>
                        <a:pt x="47" y="45"/>
                      </a:lnTo>
                      <a:lnTo>
                        <a:pt x="40" y="53"/>
                      </a:lnTo>
                      <a:lnTo>
                        <a:pt x="32" y="61"/>
                      </a:lnTo>
                      <a:lnTo>
                        <a:pt x="27" y="70"/>
                      </a:lnTo>
                      <a:lnTo>
                        <a:pt x="22" y="79"/>
                      </a:lnTo>
                      <a:lnTo>
                        <a:pt x="16" y="90"/>
                      </a:lnTo>
                      <a:lnTo>
                        <a:pt x="12" y="99"/>
                      </a:lnTo>
                      <a:lnTo>
                        <a:pt x="8" y="110"/>
                      </a:lnTo>
                      <a:lnTo>
                        <a:pt x="6" y="120"/>
                      </a:lnTo>
                      <a:lnTo>
                        <a:pt x="4" y="131"/>
                      </a:lnTo>
                      <a:lnTo>
                        <a:pt x="2" y="142"/>
                      </a:lnTo>
                      <a:lnTo>
                        <a:pt x="2" y="153"/>
                      </a:lnTo>
                      <a:lnTo>
                        <a:pt x="2" y="163"/>
                      </a:lnTo>
                      <a:lnTo>
                        <a:pt x="2" y="220"/>
                      </a:lnTo>
                      <a:lnTo>
                        <a:pt x="2" y="277"/>
                      </a:lnTo>
                      <a:lnTo>
                        <a:pt x="0" y="334"/>
                      </a:lnTo>
                      <a:lnTo>
                        <a:pt x="0" y="390"/>
                      </a:lnTo>
                      <a:lnTo>
                        <a:pt x="0" y="448"/>
                      </a:lnTo>
                      <a:lnTo>
                        <a:pt x="2" y="504"/>
                      </a:lnTo>
                      <a:lnTo>
                        <a:pt x="2" y="562"/>
                      </a:lnTo>
                      <a:lnTo>
                        <a:pt x="2" y="618"/>
                      </a:lnTo>
                      <a:lnTo>
                        <a:pt x="2" y="629"/>
                      </a:lnTo>
                      <a:lnTo>
                        <a:pt x="4" y="638"/>
                      </a:lnTo>
                      <a:lnTo>
                        <a:pt x="7" y="649"/>
                      </a:lnTo>
                      <a:lnTo>
                        <a:pt x="12" y="658"/>
                      </a:lnTo>
                      <a:lnTo>
                        <a:pt x="19" y="665"/>
                      </a:lnTo>
                      <a:lnTo>
                        <a:pt x="28" y="672"/>
                      </a:lnTo>
                      <a:lnTo>
                        <a:pt x="32" y="673"/>
                      </a:lnTo>
                      <a:lnTo>
                        <a:pt x="38" y="676"/>
                      </a:lnTo>
                      <a:lnTo>
                        <a:pt x="42" y="676"/>
                      </a:lnTo>
                      <a:lnTo>
                        <a:pt x="47" y="676"/>
                      </a:lnTo>
                      <a:lnTo>
                        <a:pt x="57" y="677"/>
                      </a:lnTo>
                      <a:lnTo>
                        <a:pt x="65" y="677"/>
                      </a:lnTo>
                      <a:lnTo>
                        <a:pt x="73" y="676"/>
                      </a:lnTo>
                      <a:lnTo>
                        <a:pt x="79" y="672"/>
                      </a:lnTo>
                      <a:lnTo>
                        <a:pt x="86" y="667"/>
                      </a:lnTo>
                      <a:lnTo>
                        <a:pt x="91" y="663"/>
                      </a:lnTo>
                      <a:lnTo>
                        <a:pt x="97" y="657"/>
                      </a:lnTo>
                      <a:lnTo>
                        <a:pt x="101" y="650"/>
                      </a:lnTo>
                      <a:lnTo>
                        <a:pt x="109" y="635"/>
                      </a:lnTo>
                      <a:lnTo>
                        <a:pt x="114" y="619"/>
                      </a:lnTo>
                      <a:lnTo>
                        <a:pt x="117" y="602"/>
                      </a:lnTo>
                      <a:lnTo>
                        <a:pt x="117" y="587"/>
                      </a:lnTo>
                      <a:lnTo>
                        <a:pt x="118" y="541"/>
                      </a:lnTo>
                      <a:lnTo>
                        <a:pt x="118" y="497"/>
                      </a:lnTo>
                      <a:lnTo>
                        <a:pt x="118" y="452"/>
                      </a:lnTo>
                      <a:lnTo>
                        <a:pt x="117" y="407"/>
                      </a:lnTo>
                      <a:lnTo>
                        <a:pt x="117" y="362"/>
                      </a:lnTo>
                      <a:lnTo>
                        <a:pt x="117" y="318"/>
                      </a:lnTo>
                      <a:lnTo>
                        <a:pt x="118" y="273"/>
                      </a:lnTo>
                      <a:lnTo>
                        <a:pt x="118" y="228"/>
                      </a:lnTo>
                      <a:lnTo>
                        <a:pt x="136" y="228"/>
                      </a:lnTo>
                      <a:lnTo>
                        <a:pt x="152" y="228"/>
                      </a:lnTo>
                      <a:lnTo>
                        <a:pt x="153" y="296"/>
                      </a:lnTo>
                      <a:lnTo>
                        <a:pt x="153" y="363"/>
                      </a:lnTo>
                      <a:lnTo>
                        <a:pt x="153" y="430"/>
                      </a:lnTo>
                      <a:lnTo>
                        <a:pt x="153" y="499"/>
                      </a:lnTo>
                      <a:lnTo>
                        <a:pt x="153" y="566"/>
                      </a:lnTo>
                      <a:lnTo>
                        <a:pt x="153" y="634"/>
                      </a:lnTo>
                      <a:lnTo>
                        <a:pt x="153" y="701"/>
                      </a:lnTo>
                      <a:lnTo>
                        <a:pt x="153" y="769"/>
                      </a:lnTo>
                      <a:lnTo>
                        <a:pt x="153" y="836"/>
                      </a:lnTo>
                      <a:lnTo>
                        <a:pt x="153" y="903"/>
                      </a:lnTo>
                      <a:lnTo>
                        <a:pt x="153" y="972"/>
                      </a:lnTo>
                      <a:lnTo>
                        <a:pt x="153" y="1039"/>
                      </a:lnTo>
                      <a:lnTo>
                        <a:pt x="153" y="1107"/>
                      </a:lnTo>
                      <a:lnTo>
                        <a:pt x="153" y="1174"/>
                      </a:lnTo>
                      <a:lnTo>
                        <a:pt x="153" y="1243"/>
                      </a:lnTo>
                      <a:lnTo>
                        <a:pt x="154" y="1310"/>
                      </a:lnTo>
                      <a:lnTo>
                        <a:pt x="154" y="1323"/>
                      </a:lnTo>
                      <a:lnTo>
                        <a:pt x="157" y="1335"/>
                      </a:lnTo>
                      <a:lnTo>
                        <a:pt x="161" y="1346"/>
                      </a:lnTo>
                      <a:lnTo>
                        <a:pt x="168" y="1355"/>
                      </a:lnTo>
                      <a:lnTo>
                        <a:pt x="175" y="1363"/>
                      </a:lnTo>
                      <a:lnTo>
                        <a:pt x="184" y="1370"/>
                      </a:lnTo>
                      <a:lnTo>
                        <a:pt x="193" y="1375"/>
                      </a:lnTo>
                      <a:lnTo>
                        <a:pt x="204" y="1379"/>
                      </a:lnTo>
                      <a:lnTo>
                        <a:pt x="215" y="1382"/>
                      </a:lnTo>
                      <a:lnTo>
                        <a:pt x="227" y="1383"/>
                      </a:lnTo>
                      <a:lnTo>
                        <a:pt x="239" y="1383"/>
                      </a:lnTo>
                      <a:lnTo>
                        <a:pt x="251" y="1382"/>
                      </a:lnTo>
                      <a:lnTo>
                        <a:pt x="262" y="1379"/>
                      </a:lnTo>
                      <a:lnTo>
                        <a:pt x="274" y="1375"/>
                      </a:lnTo>
                      <a:lnTo>
                        <a:pt x="283" y="1370"/>
                      </a:lnTo>
                      <a:lnTo>
                        <a:pt x="294" y="1363"/>
                      </a:lnTo>
                      <a:lnTo>
                        <a:pt x="299" y="1349"/>
                      </a:lnTo>
                      <a:lnTo>
                        <a:pt x="303" y="1334"/>
                      </a:lnTo>
                      <a:lnTo>
                        <a:pt x="306" y="1319"/>
                      </a:lnTo>
                      <a:lnTo>
                        <a:pt x="309" y="1303"/>
                      </a:lnTo>
                      <a:lnTo>
                        <a:pt x="311" y="1272"/>
                      </a:lnTo>
                      <a:lnTo>
                        <a:pt x="313" y="1241"/>
                      </a:lnTo>
                      <a:lnTo>
                        <a:pt x="313" y="1170"/>
                      </a:lnTo>
                      <a:lnTo>
                        <a:pt x="311" y="1101"/>
                      </a:lnTo>
                      <a:lnTo>
                        <a:pt x="311" y="1030"/>
                      </a:lnTo>
                      <a:lnTo>
                        <a:pt x="311" y="958"/>
                      </a:lnTo>
                      <a:lnTo>
                        <a:pt x="311" y="887"/>
                      </a:lnTo>
                      <a:lnTo>
                        <a:pt x="313" y="816"/>
                      </a:lnTo>
                      <a:lnTo>
                        <a:pt x="313" y="745"/>
                      </a:lnTo>
                      <a:lnTo>
                        <a:pt x="313" y="674"/>
                      </a:lnTo>
                      <a:lnTo>
                        <a:pt x="330" y="674"/>
                      </a:lnTo>
                      <a:lnTo>
                        <a:pt x="347" y="674"/>
                      </a:lnTo>
                      <a:lnTo>
                        <a:pt x="347" y="756"/>
                      </a:lnTo>
                      <a:lnTo>
                        <a:pt x="347" y="838"/>
                      </a:lnTo>
                      <a:lnTo>
                        <a:pt x="347" y="918"/>
                      </a:lnTo>
                      <a:lnTo>
                        <a:pt x="347" y="1000"/>
                      </a:lnTo>
                      <a:lnTo>
                        <a:pt x="347" y="1082"/>
                      </a:lnTo>
                      <a:lnTo>
                        <a:pt x="347" y="1162"/>
                      </a:lnTo>
                      <a:lnTo>
                        <a:pt x="347" y="1244"/>
                      </a:lnTo>
                      <a:lnTo>
                        <a:pt x="349" y="1324"/>
                      </a:lnTo>
                      <a:lnTo>
                        <a:pt x="350" y="1333"/>
                      </a:lnTo>
                      <a:lnTo>
                        <a:pt x="351" y="1341"/>
                      </a:lnTo>
                      <a:lnTo>
                        <a:pt x="354" y="1347"/>
                      </a:lnTo>
                      <a:lnTo>
                        <a:pt x="357" y="1354"/>
                      </a:lnTo>
                      <a:lnTo>
                        <a:pt x="361" y="1359"/>
                      </a:lnTo>
                      <a:lnTo>
                        <a:pt x="366" y="1363"/>
                      </a:lnTo>
                      <a:lnTo>
                        <a:pt x="370" y="1369"/>
                      </a:lnTo>
                      <a:lnTo>
                        <a:pt x="377" y="1373"/>
                      </a:lnTo>
                      <a:lnTo>
                        <a:pt x="388" y="1378"/>
                      </a:lnTo>
                      <a:lnTo>
                        <a:pt x="401" y="1382"/>
                      </a:lnTo>
                      <a:lnTo>
                        <a:pt x="416" y="1383"/>
                      </a:lnTo>
                      <a:lnTo>
                        <a:pt x="429" y="1382"/>
                      </a:lnTo>
                      <a:lnTo>
                        <a:pt x="444" y="1379"/>
                      </a:lnTo>
                      <a:lnTo>
                        <a:pt x="457" y="1375"/>
                      </a:lnTo>
                      <a:lnTo>
                        <a:pt x="469" y="1369"/>
                      </a:lnTo>
                      <a:lnTo>
                        <a:pt x="480" y="1359"/>
                      </a:lnTo>
                      <a:lnTo>
                        <a:pt x="484" y="1355"/>
                      </a:lnTo>
                      <a:lnTo>
                        <a:pt x="488" y="1350"/>
                      </a:lnTo>
                      <a:lnTo>
                        <a:pt x="492" y="1343"/>
                      </a:lnTo>
                      <a:lnTo>
                        <a:pt x="495" y="1338"/>
                      </a:lnTo>
                      <a:lnTo>
                        <a:pt x="496" y="1331"/>
                      </a:lnTo>
                      <a:lnTo>
                        <a:pt x="498" y="1323"/>
                      </a:lnTo>
                      <a:lnTo>
                        <a:pt x="499" y="1316"/>
                      </a:lnTo>
                      <a:lnTo>
                        <a:pt x="498" y="1308"/>
                      </a:lnTo>
                      <a:lnTo>
                        <a:pt x="499" y="1240"/>
                      </a:lnTo>
                      <a:lnTo>
                        <a:pt x="499" y="1173"/>
                      </a:lnTo>
                      <a:lnTo>
                        <a:pt x="499" y="1106"/>
                      </a:lnTo>
                      <a:lnTo>
                        <a:pt x="499" y="1038"/>
                      </a:lnTo>
                      <a:lnTo>
                        <a:pt x="499" y="971"/>
                      </a:lnTo>
                      <a:lnTo>
                        <a:pt x="499" y="902"/>
                      </a:lnTo>
                      <a:lnTo>
                        <a:pt x="499" y="835"/>
                      </a:lnTo>
                      <a:lnTo>
                        <a:pt x="499" y="767"/>
                      </a:lnTo>
                      <a:lnTo>
                        <a:pt x="499" y="700"/>
                      </a:lnTo>
                      <a:lnTo>
                        <a:pt x="499" y="633"/>
                      </a:lnTo>
                      <a:lnTo>
                        <a:pt x="499" y="564"/>
                      </a:lnTo>
                      <a:lnTo>
                        <a:pt x="499" y="497"/>
                      </a:lnTo>
                      <a:lnTo>
                        <a:pt x="499" y="429"/>
                      </a:lnTo>
                      <a:lnTo>
                        <a:pt x="499" y="362"/>
                      </a:lnTo>
                      <a:lnTo>
                        <a:pt x="499" y="293"/>
                      </a:lnTo>
                      <a:lnTo>
                        <a:pt x="499" y="226"/>
                      </a:lnTo>
                      <a:lnTo>
                        <a:pt x="510" y="226"/>
                      </a:lnTo>
                      <a:lnTo>
                        <a:pt x="520" y="226"/>
                      </a:lnTo>
                      <a:lnTo>
                        <a:pt x="532" y="226"/>
                      </a:lnTo>
                      <a:lnTo>
                        <a:pt x="542" y="225"/>
                      </a:lnTo>
                      <a:lnTo>
                        <a:pt x="542" y="273"/>
                      </a:lnTo>
                      <a:lnTo>
                        <a:pt x="542" y="320"/>
                      </a:lnTo>
                      <a:lnTo>
                        <a:pt x="542" y="367"/>
                      </a:lnTo>
                      <a:lnTo>
                        <a:pt x="542" y="414"/>
                      </a:lnTo>
                      <a:lnTo>
                        <a:pt x="542" y="461"/>
                      </a:lnTo>
                      <a:lnTo>
                        <a:pt x="542" y="508"/>
                      </a:lnTo>
                      <a:lnTo>
                        <a:pt x="542" y="556"/>
                      </a:lnTo>
                      <a:lnTo>
                        <a:pt x="542" y="603"/>
                      </a:lnTo>
                      <a:lnTo>
                        <a:pt x="543" y="617"/>
                      </a:lnTo>
                      <a:lnTo>
                        <a:pt x="546" y="631"/>
                      </a:lnTo>
                      <a:lnTo>
                        <a:pt x="553" y="645"/>
                      </a:lnTo>
                      <a:lnTo>
                        <a:pt x="561" y="657"/>
                      </a:lnTo>
                      <a:lnTo>
                        <a:pt x="565" y="662"/>
                      </a:lnTo>
                      <a:lnTo>
                        <a:pt x="570" y="667"/>
                      </a:lnTo>
                      <a:lnTo>
                        <a:pt x="577" y="670"/>
                      </a:lnTo>
                      <a:lnTo>
                        <a:pt x="582" y="674"/>
                      </a:lnTo>
                      <a:lnTo>
                        <a:pt x="589" y="676"/>
                      </a:lnTo>
                      <a:lnTo>
                        <a:pt x="597" y="677"/>
                      </a:lnTo>
                      <a:lnTo>
                        <a:pt x="604" y="677"/>
                      </a:lnTo>
                      <a:lnTo>
                        <a:pt x="612" y="676"/>
                      </a:lnTo>
                      <a:lnTo>
                        <a:pt x="618" y="676"/>
                      </a:lnTo>
                      <a:lnTo>
                        <a:pt x="624" y="674"/>
                      </a:lnTo>
                      <a:lnTo>
                        <a:pt x="629" y="672"/>
                      </a:lnTo>
                      <a:lnTo>
                        <a:pt x="634" y="669"/>
                      </a:lnTo>
                      <a:lnTo>
                        <a:pt x="638" y="665"/>
                      </a:lnTo>
                      <a:lnTo>
                        <a:pt x="642" y="661"/>
                      </a:lnTo>
                      <a:lnTo>
                        <a:pt x="645" y="655"/>
                      </a:lnTo>
                      <a:lnTo>
                        <a:pt x="649" y="650"/>
                      </a:lnTo>
                      <a:lnTo>
                        <a:pt x="653" y="639"/>
                      </a:lnTo>
                      <a:lnTo>
                        <a:pt x="656" y="627"/>
                      </a:lnTo>
                      <a:lnTo>
                        <a:pt x="658" y="615"/>
                      </a:lnTo>
                      <a:lnTo>
                        <a:pt x="658" y="603"/>
                      </a:lnTo>
                      <a:lnTo>
                        <a:pt x="658" y="555"/>
                      </a:lnTo>
                      <a:lnTo>
                        <a:pt x="658" y="505"/>
                      </a:lnTo>
                      <a:lnTo>
                        <a:pt x="658" y="457"/>
                      </a:lnTo>
                      <a:lnTo>
                        <a:pt x="658" y="409"/>
                      </a:lnTo>
                      <a:lnTo>
                        <a:pt x="658" y="360"/>
                      </a:lnTo>
                      <a:lnTo>
                        <a:pt x="658" y="311"/>
                      </a:lnTo>
                      <a:lnTo>
                        <a:pt x="658" y="263"/>
                      </a:lnTo>
                      <a:lnTo>
                        <a:pt x="658" y="214"/>
                      </a:lnTo>
                      <a:lnTo>
                        <a:pt x="658" y="192"/>
                      </a:lnTo>
                      <a:lnTo>
                        <a:pt x="657" y="169"/>
                      </a:lnTo>
                      <a:lnTo>
                        <a:pt x="654" y="146"/>
                      </a:lnTo>
                      <a:lnTo>
                        <a:pt x="650" y="123"/>
                      </a:lnTo>
                      <a:lnTo>
                        <a:pt x="648" y="111"/>
                      </a:lnTo>
                      <a:lnTo>
                        <a:pt x="644" y="100"/>
                      </a:lnTo>
                      <a:lnTo>
                        <a:pt x="640" y="90"/>
                      </a:lnTo>
                      <a:lnTo>
                        <a:pt x="634" y="80"/>
                      </a:lnTo>
                      <a:lnTo>
                        <a:pt x="629" y="71"/>
                      </a:lnTo>
                      <a:lnTo>
                        <a:pt x="622" y="61"/>
                      </a:lnTo>
                      <a:lnTo>
                        <a:pt x="614" y="53"/>
                      </a:lnTo>
                      <a:lnTo>
                        <a:pt x="605" y="45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</p:grpSp>
        <p:grpSp>
          <p:nvGrpSpPr>
            <p:cNvPr id="31" name="Group 25"/>
            <p:cNvGrpSpPr/>
            <p:nvPr/>
          </p:nvGrpSpPr>
          <p:grpSpPr>
            <a:xfrm>
              <a:off x="8612970" y="2591953"/>
              <a:ext cx="1437810" cy="607684"/>
              <a:chOff x="8612970" y="2591953"/>
              <a:chExt cx="1437810" cy="607684"/>
            </a:xfrm>
          </p:grpSpPr>
          <p:grpSp>
            <p:nvGrpSpPr>
              <p:cNvPr id="34" name="Group 104"/>
              <p:cNvGrpSpPr/>
              <p:nvPr/>
            </p:nvGrpSpPr>
            <p:grpSpPr>
              <a:xfrm>
                <a:off x="8999521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52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53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41" name="Group 106"/>
              <p:cNvGrpSpPr/>
              <p:nvPr/>
            </p:nvGrpSpPr>
            <p:grpSpPr>
              <a:xfrm>
                <a:off x="9389582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48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51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42" name="Group 108"/>
              <p:cNvGrpSpPr/>
              <p:nvPr/>
            </p:nvGrpSpPr>
            <p:grpSpPr>
              <a:xfrm>
                <a:off x="9779643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46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47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  <p:grpSp>
            <p:nvGrpSpPr>
              <p:cNvPr id="43" name="Group 122"/>
              <p:cNvGrpSpPr/>
              <p:nvPr/>
            </p:nvGrpSpPr>
            <p:grpSpPr>
              <a:xfrm>
                <a:off x="8612970" y="2591953"/>
                <a:ext cx="271137" cy="607684"/>
                <a:chOff x="3327401" y="4335463"/>
                <a:chExt cx="407988" cy="914400"/>
              </a:xfrm>
              <a:gradFill>
                <a:gsLst>
                  <a:gs pos="0">
                    <a:srgbClr val="00B0F0">
                      <a:alpha val="70000"/>
                    </a:srgbClr>
                  </a:gs>
                  <a:gs pos="100000">
                    <a:srgbClr val="4CC1BA">
                      <a:alpha val="85000"/>
                    </a:srgbClr>
                  </a:gs>
                </a:gsLst>
                <a:lin ang="8100000" scaled="1"/>
              </a:gradFill>
            </p:grpSpPr>
            <p:sp>
              <p:nvSpPr>
                <p:cNvPr id="44" name="Freeform 58"/>
                <p:cNvSpPr/>
                <p:nvPr/>
              </p:nvSpPr>
              <p:spPr bwMode="auto">
                <a:xfrm>
                  <a:off x="3455988" y="4335463"/>
                  <a:ext cx="149225" cy="147638"/>
                </a:xfrm>
                <a:custGeom>
                  <a:avLst/>
                  <a:gdLst>
                    <a:gd name="T0" fmla="*/ 283 w 283"/>
                    <a:gd name="T1" fmla="*/ 144 h 278"/>
                    <a:gd name="T2" fmla="*/ 280 w 283"/>
                    <a:gd name="T3" fmla="*/ 111 h 278"/>
                    <a:gd name="T4" fmla="*/ 270 w 283"/>
                    <a:gd name="T5" fmla="*/ 80 h 278"/>
                    <a:gd name="T6" fmla="*/ 251 w 283"/>
                    <a:gd name="T7" fmla="*/ 52 h 278"/>
                    <a:gd name="T8" fmla="*/ 227 w 283"/>
                    <a:gd name="T9" fmla="*/ 29 h 278"/>
                    <a:gd name="T10" fmla="*/ 197 w 283"/>
                    <a:gd name="T11" fmla="*/ 12 h 278"/>
                    <a:gd name="T12" fmla="*/ 165 w 283"/>
                    <a:gd name="T13" fmla="*/ 1 h 278"/>
                    <a:gd name="T14" fmla="*/ 132 w 283"/>
                    <a:gd name="T15" fmla="*/ 0 h 278"/>
                    <a:gd name="T16" fmla="*/ 97 w 283"/>
                    <a:gd name="T17" fmla="*/ 6 h 278"/>
                    <a:gd name="T18" fmla="*/ 66 w 283"/>
                    <a:gd name="T19" fmla="*/ 24 h 278"/>
                    <a:gd name="T20" fmla="*/ 39 w 283"/>
                    <a:gd name="T21" fmla="*/ 46 h 278"/>
                    <a:gd name="T22" fmla="*/ 19 w 283"/>
                    <a:gd name="T23" fmla="*/ 76 h 278"/>
                    <a:gd name="T24" fmla="*/ 6 w 283"/>
                    <a:gd name="T25" fmla="*/ 108 h 278"/>
                    <a:gd name="T26" fmla="*/ 0 w 283"/>
                    <a:gd name="T27" fmla="*/ 142 h 278"/>
                    <a:gd name="T28" fmla="*/ 4 w 283"/>
                    <a:gd name="T29" fmla="*/ 177 h 278"/>
                    <a:gd name="T30" fmla="*/ 14 w 283"/>
                    <a:gd name="T31" fmla="*/ 201 h 278"/>
                    <a:gd name="T32" fmla="*/ 23 w 283"/>
                    <a:gd name="T33" fmla="*/ 217 h 278"/>
                    <a:gd name="T34" fmla="*/ 35 w 283"/>
                    <a:gd name="T35" fmla="*/ 233 h 278"/>
                    <a:gd name="T36" fmla="*/ 50 w 283"/>
                    <a:gd name="T37" fmla="*/ 248 h 278"/>
                    <a:gd name="T38" fmla="*/ 67 w 283"/>
                    <a:gd name="T39" fmla="*/ 260 h 278"/>
                    <a:gd name="T40" fmla="*/ 86 w 283"/>
                    <a:gd name="T41" fmla="*/ 268 h 278"/>
                    <a:gd name="T42" fmla="*/ 105 w 283"/>
                    <a:gd name="T43" fmla="*/ 274 h 278"/>
                    <a:gd name="T44" fmla="*/ 125 w 283"/>
                    <a:gd name="T45" fmla="*/ 278 h 278"/>
                    <a:gd name="T46" fmla="*/ 157 w 283"/>
                    <a:gd name="T47" fmla="*/ 278 h 278"/>
                    <a:gd name="T48" fmla="*/ 187 w 283"/>
                    <a:gd name="T49" fmla="*/ 272 h 278"/>
                    <a:gd name="T50" fmla="*/ 207 w 283"/>
                    <a:gd name="T51" fmla="*/ 265 h 278"/>
                    <a:gd name="T52" fmla="*/ 224 w 283"/>
                    <a:gd name="T53" fmla="*/ 256 h 278"/>
                    <a:gd name="T54" fmla="*/ 240 w 283"/>
                    <a:gd name="T55" fmla="*/ 244 h 278"/>
                    <a:gd name="T56" fmla="*/ 255 w 283"/>
                    <a:gd name="T57" fmla="*/ 229 h 278"/>
                    <a:gd name="T58" fmla="*/ 266 w 283"/>
                    <a:gd name="T59" fmla="*/ 213 h 278"/>
                    <a:gd name="T60" fmla="*/ 275 w 283"/>
                    <a:gd name="T61" fmla="*/ 194 h 278"/>
                    <a:gd name="T62" fmla="*/ 280 w 283"/>
                    <a:gd name="T63" fmla="*/ 174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83" h="278">
                      <a:moveTo>
                        <a:pt x="282" y="162"/>
                      </a:moveTo>
                      <a:lnTo>
                        <a:pt x="283" y="144"/>
                      </a:lnTo>
                      <a:lnTo>
                        <a:pt x="283" y="128"/>
                      </a:lnTo>
                      <a:lnTo>
                        <a:pt x="280" y="111"/>
                      </a:lnTo>
                      <a:lnTo>
                        <a:pt x="276" y="95"/>
                      </a:lnTo>
                      <a:lnTo>
                        <a:pt x="270" y="80"/>
                      </a:lnTo>
                      <a:lnTo>
                        <a:pt x="262" y="65"/>
                      </a:lnTo>
                      <a:lnTo>
                        <a:pt x="251" y="52"/>
                      </a:lnTo>
                      <a:lnTo>
                        <a:pt x="239" y="40"/>
                      </a:lnTo>
                      <a:lnTo>
                        <a:pt x="227" y="29"/>
                      </a:lnTo>
                      <a:lnTo>
                        <a:pt x="212" y="20"/>
                      </a:lnTo>
                      <a:lnTo>
                        <a:pt x="197" y="12"/>
                      </a:lnTo>
                      <a:lnTo>
                        <a:pt x="181" y="5"/>
                      </a:lnTo>
                      <a:lnTo>
                        <a:pt x="165" y="1"/>
                      </a:lnTo>
                      <a:lnTo>
                        <a:pt x="149" y="0"/>
                      </a:lnTo>
                      <a:lnTo>
                        <a:pt x="132" y="0"/>
                      </a:lnTo>
                      <a:lnTo>
                        <a:pt x="114" y="2"/>
                      </a:lnTo>
                      <a:lnTo>
                        <a:pt x="97" y="6"/>
                      </a:lnTo>
                      <a:lnTo>
                        <a:pt x="81" y="14"/>
                      </a:lnTo>
                      <a:lnTo>
                        <a:pt x="66" y="24"/>
                      </a:lnTo>
                      <a:lnTo>
                        <a:pt x="52" y="34"/>
                      </a:lnTo>
                      <a:lnTo>
                        <a:pt x="39" y="46"/>
                      </a:lnTo>
                      <a:lnTo>
                        <a:pt x="28" y="60"/>
                      </a:lnTo>
                      <a:lnTo>
                        <a:pt x="19" y="76"/>
                      </a:lnTo>
                      <a:lnTo>
                        <a:pt x="12" y="91"/>
                      </a:lnTo>
                      <a:lnTo>
                        <a:pt x="6" y="108"/>
                      </a:lnTo>
                      <a:lnTo>
                        <a:pt x="3" y="124"/>
                      </a:lnTo>
                      <a:lnTo>
                        <a:pt x="0" y="142"/>
                      </a:lnTo>
                      <a:lnTo>
                        <a:pt x="2" y="159"/>
                      </a:lnTo>
                      <a:lnTo>
                        <a:pt x="4" y="177"/>
                      </a:lnTo>
                      <a:lnTo>
                        <a:pt x="10" y="193"/>
                      </a:lnTo>
                      <a:lnTo>
                        <a:pt x="14" y="201"/>
                      </a:lnTo>
                      <a:lnTo>
                        <a:pt x="18" y="209"/>
                      </a:lnTo>
                      <a:lnTo>
                        <a:pt x="23" y="217"/>
                      </a:lnTo>
                      <a:lnTo>
                        <a:pt x="30" y="223"/>
                      </a:lnTo>
                      <a:lnTo>
                        <a:pt x="35" y="233"/>
                      </a:lnTo>
                      <a:lnTo>
                        <a:pt x="43" y="240"/>
                      </a:lnTo>
                      <a:lnTo>
                        <a:pt x="50" y="248"/>
                      </a:lnTo>
                      <a:lnTo>
                        <a:pt x="59" y="254"/>
                      </a:lnTo>
                      <a:lnTo>
                        <a:pt x="67" y="260"/>
                      </a:lnTo>
                      <a:lnTo>
                        <a:pt x="77" y="264"/>
                      </a:lnTo>
                      <a:lnTo>
                        <a:pt x="86" y="268"/>
                      </a:lnTo>
                      <a:lnTo>
                        <a:pt x="95" y="272"/>
                      </a:lnTo>
                      <a:lnTo>
                        <a:pt x="105" y="274"/>
                      </a:lnTo>
                      <a:lnTo>
                        <a:pt x="115" y="277"/>
                      </a:lnTo>
                      <a:lnTo>
                        <a:pt x="125" y="278"/>
                      </a:lnTo>
                      <a:lnTo>
                        <a:pt x="136" y="278"/>
                      </a:lnTo>
                      <a:lnTo>
                        <a:pt x="157" y="278"/>
                      </a:lnTo>
                      <a:lnTo>
                        <a:pt x="177" y="274"/>
                      </a:lnTo>
                      <a:lnTo>
                        <a:pt x="187" y="272"/>
                      </a:lnTo>
                      <a:lnTo>
                        <a:pt x="197" y="269"/>
                      </a:lnTo>
                      <a:lnTo>
                        <a:pt x="207" y="265"/>
                      </a:lnTo>
                      <a:lnTo>
                        <a:pt x="215" y="261"/>
                      </a:lnTo>
                      <a:lnTo>
                        <a:pt x="224" y="256"/>
                      </a:lnTo>
                      <a:lnTo>
                        <a:pt x="232" y="250"/>
                      </a:lnTo>
                      <a:lnTo>
                        <a:pt x="240" y="244"/>
                      </a:lnTo>
                      <a:lnTo>
                        <a:pt x="248" y="237"/>
                      </a:lnTo>
                      <a:lnTo>
                        <a:pt x="255" y="229"/>
                      </a:lnTo>
                      <a:lnTo>
                        <a:pt x="260" y="221"/>
                      </a:lnTo>
                      <a:lnTo>
                        <a:pt x="266" y="213"/>
                      </a:lnTo>
                      <a:lnTo>
                        <a:pt x="271" y="203"/>
                      </a:lnTo>
                      <a:lnTo>
                        <a:pt x="275" y="194"/>
                      </a:lnTo>
                      <a:lnTo>
                        <a:pt x="278" y="185"/>
                      </a:lnTo>
                      <a:lnTo>
                        <a:pt x="280" y="174"/>
                      </a:lnTo>
                      <a:lnTo>
                        <a:pt x="282" y="16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  <p:sp>
              <p:nvSpPr>
                <p:cNvPr id="45" name="Freeform 59"/>
                <p:cNvSpPr/>
                <p:nvPr/>
              </p:nvSpPr>
              <p:spPr bwMode="auto">
                <a:xfrm>
                  <a:off x="3327401" y="4506913"/>
                  <a:ext cx="407988" cy="742950"/>
                </a:xfrm>
                <a:custGeom>
                  <a:avLst/>
                  <a:gdLst>
                    <a:gd name="T0" fmla="*/ 690 w 770"/>
                    <a:gd name="T1" fmla="*/ 245 h 1403"/>
                    <a:gd name="T2" fmla="*/ 650 w 770"/>
                    <a:gd name="T3" fmla="*/ 122 h 1403"/>
                    <a:gd name="T4" fmla="*/ 616 w 770"/>
                    <a:gd name="T5" fmla="*/ 60 h 1403"/>
                    <a:gd name="T6" fmla="*/ 573 w 770"/>
                    <a:gd name="T7" fmla="*/ 25 h 1403"/>
                    <a:gd name="T8" fmla="*/ 521 w 770"/>
                    <a:gd name="T9" fmla="*/ 6 h 1403"/>
                    <a:gd name="T10" fmla="*/ 451 w 770"/>
                    <a:gd name="T11" fmla="*/ 0 h 1403"/>
                    <a:gd name="T12" fmla="*/ 323 w 770"/>
                    <a:gd name="T13" fmla="*/ 0 h 1403"/>
                    <a:gd name="T14" fmla="*/ 238 w 770"/>
                    <a:gd name="T15" fmla="*/ 8 h 1403"/>
                    <a:gd name="T16" fmla="*/ 178 w 770"/>
                    <a:gd name="T17" fmla="*/ 36 h 1403"/>
                    <a:gd name="T18" fmla="*/ 135 w 770"/>
                    <a:gd name="T19" fmla="*/ 88 h 1403"/>
                    <a:gd name="T20" fmla="*/ 95 w 770"/>
                    <a:gd name="T21" fmla="*/ 197 h 1403"/>
                    <a:gd name="T22" fmla="*/ 59 w 770"/>
                    <a:gd name="T23" fmla="*/ 325 h 1403"/>
                    <a:gd name="T24" fmla="*/ 20 w 770"/>
                    <a:gd name="T25" fmla="*/ 457 h 1403"/>
                    <a:gd name="T26" fmla="*/ 1 w 770"/>
                    <a:gd name="T27" fmla="*/ 568 h 1403"/>
                    <a:gd name="T28" fmla="*/ 24 w 770"/>
                    <a:gd name="T29" fmla="*/ 596 h 1403"/>
                    <a:gd name="T30" fmla="*/ 60 w 770"/>
                    <a:gd name="T31" fmla="*/ 603 h 1403"/>
                    <a:gd name="T32" fmla="*/ 95 w 770"/>
                    <a:gd name="T33" fmla="*/ 590 h 1403"/>
                    <a:gd name="T34" fmla="*/ 124 w 770"/>
                    <a:gd name="T35" fmla="*/ 521 h 1403"/>
                    <a:gd name="T36" fmla="*/ 175 w 770"/>
                    <a:gd name="T37" fmla="*/ 342 h 1403"/>
                    <a:gd name="T38" fmla="*/ 229 w 770"/>
                    <a:gd name="T39" fmla="*/ 199 h 1403"/>
                    <a:gd name="T40" fmla="*/ 181 w 770"/>
                    <a:gd name="T41" fmla="*/ 437 h 1403"/>
                    <a:gd name="T42" fmla="*/ 96 w 770"/>
                    <a:gd name="T43" fmla="*/ 765 h 1403"/>
                    <a:gd name="T44" fmla="*/ 202 w 770"/>
                    <a:gd name="T45" fmla="*/ 848 h 1403"/>
                    <a:gd name="T46" fmla="*/ 244 w 770"/>
                    <a:gd name="T47" fmla="*/ 1035 h 1403"/>
                    <a:gd name="T48" fmla="*/ 244 w 770"/>
                    <a:gd name="T49" fmla="*/ 1284 h 1403"/>
                    <a:gd name="T50" fmla="*/ 258 w 770"/>
                    <a:gd name="T51" fmla="*/ 1379 h 1403"/>
                    <a:gd name="T52" fmla="*/ 297 w 770"/>
                    <a:gd name="T53" fmla="*/ 1401 h 1403"/>
                    <a:gd name="T54" fmla="*/ 340 w 770"/>
                    <a:gd name="T55" fmla="*/ 1394 h 1403"/>
                    <a:gd name="T56" fmla="*/ 368 w 770"/>
                    <a:gd name="T57" fmla="*/ 1359 h 1403"/>
                    <a:gd name="T58" fmla="*/ 372 w 770"/>
                    <a:gd name="T59" fmla="*/ 1159 h 1403"/>
                    <a:gd name="T60" fmla="*/ 372 w 770"/>
                    <a:gd name="T61" fmla="*/ 910 h 1403"/>
                    <a:gd name="T62" fmla="*/ 412 w 770"/>
                    <a:gd name="T63" fmla="*/ 907 h 1403"/>
                    <a:gd name="T64" fmla="*/ 412 w 770"/>
                    <a:gd name="T65" fmla="*/ 1149 h 1403"/>
                    <a:gd name="T66" fmla="*/ 412 w 770"/>
                    <a:gd name="T67" fmla="*/ 1336 h 1403"/>
                    <a:gd name="T68" fmla="*/ 418 w 770"/>
                    <a:gd name="T69" fmla="*/ 1363 h 1403"/>
                    <a:gd name="T70" fmla="*/ 433 w 770"/>
                    <a:gd name="T71" fmla="*/ 1386 h 1403"/>
                    <a:gd name="T72" fmla="*/ 457 w 770"/>
                    <a:gd name="T73" fmla="*/ 1401 h 1403"/>
                    <a:gd name="T74" fmla="*/ 485 w 770"/>
                    <a:gd name="T75" fmla="*/ 1403 h 1403"/>
                    <a:gd name="T76" fmla="*/ 510 w 770"/>
                    <a:gd name="T77" fmla="*/ 1393 h 1403"/>
                    <a:gd name="T78" fmla="*/ 532 w 770"/>
                    <a:gd name="T79" fmla="*/ 1367 h 1403"/>
                    <a:gd name="T80" fmla="*/ 541 w 770"/>
                    <a:gd name="T81" fmla="*/ 1267 h 1403"/>
                    <a:gd name="T82" fmla="*/ 541 w 770"/>
                    <a:gd name="T83" fmla="*/ 1028 h 1403"/>
                    <a:gd name="T84" fmla="*/ 584 w 770"/>
                    <a:gd name="T85" fmla="*/ 848 h 1403"/>
                    <a:gd name="T86" fmla="*/ 686 w 770"/>
                    <a:gd name="T87" fmla="*/ 764 h 1403"/>
                    <a:gd name="T88" fmla="*/ 588 w 770"/>
                    <a:gd name="T89" fmla="*/ 430 h 1403"/>
                    <a:gd name="T90" fmla="*/ 532 w 770"/>
                    <a:gd name="T91" fmla="*/ 189 h 1403"/>
                    <a:gd name="T92" fmla="*/ 553 w 770"/>
                    <a:gd name="T93" fmla="*/ 216 h 1403"/>
                    <a:gd name="T94" fmla="*/ 596 w 770"/>
                    <a:gd name="T95" fmla="*/ 352 h 1403"/>
                    <a:gd name="T96" fmla="*/ 650 w 770"/>
                    <a:gd name="T97" fmla="*/ 523 h 1403"/>
                    <a:gd name="T98" fmla="*/ 678 w 770"/>
                    <a:gd name="T99" fmla="*/ 584 h 1403"/>
                    <a:gd name="T100" fmla="*/ 701 w 770"/>
                    <a:gd name="T101" fmla="*/ 599 h 1403"/>
                    <a:gd name="T102" fmla="*/ 752 w 770"/>
                    <a:gd name="T103" fmla="*/ 599 h 1403"/>
                    <a:gd name="T104" fmla="*/ 770 w 770"/>
                    <a:gd name="T105" fmla="*/ 548 h 1403"/>
                    <a:gd name="T106" fmla="*/ 762 w 770"/>
                    <a:gd name="T107" fmla="*/ 486 h 1403"/>
                    <a:gd name="T108" fmla="*/ 730 w 770"/>
                    <a:gd name="T109" fmla="*/ 382 h 1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770" h="1403">
                      <a:moveTo>
                        <a:pt x="722" y="352"/>
                      </a:moveTo>
                      <a:lnTo>
                        <a:pt x="710" y="316"/>
                      </a:lnTo>
                      <a:lnTo>
                        <a:pt x="699" y="281"/>
                      </a:lnTo>
                      <a:lnTo>
                        <a:pt x="690" y="245"/>
                      </a:lnTo>
                      <a:lnTo>
                        <a:pt x="679" y="209"/>
                      </a:lnTo>
                      <a:lnTo>
                        <a:pt x="669" y="174"/>
                      </a:lnTo>
                      <a:lnTo>
                        <a:pt x="656" y="139"/>
                      </a:lnTo>
                      <a:lnTo>
                        <a:pt x="650" y="122"/>
                      </a:lnTo>
                      <a:lnTo>
                        <a:pt x="642" y="104"/>
                      </a:lnTo>
                      <a:lnTo>
                        <a:pt x="634" y="88"/>
                      </a:lnTo>
                      <a:lnTo>
                        <a:pt x="624" y="72"/>
                      </a:lnTo>
                      <a:lnTo>
                        <a:pt x="616" y="60"/>
                      </a:lnTo>
                      <a:lnTo>
                        <a:pt x="607" y="49"/>
                      </a:lnTo>
                      <a:lnTo>
                        <a:pt x="596" y="40"/>
                      </a:lnTo>
                      <a:lnTo>
                        <a:pt x="585" y="32"/>
                      </a:lnTo>
                      <a:lnTo>
                        <a:pt x="573" y="25"/>
                      </a:lnTo>
                      <a:lnTo>
                        <a:pt x="561" y="18"/>
                      </a:lnTo>
                      <a:lnTo>
                        <a:pt x="548" y="13"/>
                      </a:lnTo>
                      <a:lnTo>
                        <a:pt x="536" y="9"/>
                      </a:lnTo>
                      <a:lnTo>
                        <a:pt x="521" y="6"/>
                      </a:lnTo>
                      <a:lnTo>
                        <a:pt x="508" y="4"/>
                      </a:lnTo>
                      <a:lnTo>
                        <a:pt x="494" y="1"/>
                      </a:lnTo>
                      <a:lnTo>
                        <a:pt x="479" y="1"/>
                      </a:lnTo>
                      <a:lnTo>
                        <a:pt x="451" y="0"/>
                      </a:lnTo>
                      <a:lnTo>
                        <a:pt x="425" y="1"/>
                      </a:lnTo>
                      <a:lnTo>
                        <a:pt x="391" y="1"/>
                      </a:lnTo>
                      <a:lnTo>
                        <a:pt x="356" y="1"/>
                      </a:lnTo>
                      <a:lnTo>
                        <a:pt x="323" y="0"/>
                      </a:lnTo>
                      <a:lnTo>
                        <a:pt x="288" y="1"/>
                      </a:lnTo>
                      <a:lnTo>
                        <a:pt x="270" y="2"/>
                      </a:lnTo>
                      <a:lnTo>
                        <a:pt x="254" y="5"/>
                      </a:lnTo>
                      <a:lnTo>
                        <a:pt x="238" y="8"/>
                      </a:lnTo>
                      <a:lnTo>
                        <a:pt x="222" y="12"/>
                      </a:lnTo>
                      <a:lnTo>
                        <a:pt x="206" y="18"/>
                      </a:lnTo>
                      <a:lnTo>
                        <a:pt x="191" y="26"/>
                      </a:lnTo>
                      <a:lnTo>
                        <a:pt x="178" y="36"/>
                      </a:lnTo>
                      <a:lnTo>
                        <a:pt x="164" y="47"/>
                      </a:lnTo>
                      <a:lnTo>
                        <a:pt x="154" y="60"/>
                      </a:lnTo>
                      <a:lnTo>
                        <a:pt x="144" y="73"/>
                      </a:lnTo>
                      <a:lnTo>
                        <a:pt x="135" y="88"/>
                      </a:lnTo>
                      <a:lnTo>
                        <a:pt x="128" y="103"/>
                      </a:lnTo>
                      <a:lnTo>
                        <a:pt x="115" y="132"/>
                      </a:lnTo>
                      <a:lnTo>
                        <a:pt x="104" y="165"/>
                      </a:lnTo>
                      <a:lnTo>
                        <a:pt x="95" y="197"/>
                      </a:lnTo>
                      <a:lnTo>
                        <a:pt x="87" y="229"/>
                      </a:lnTo>
                      <a:lnTo>
                        <a:pt x="77" y="261"/>
                      </a:lnTo>
                      <a:lnTo>
                        <a:pt x="68" y="293"/>
                      </a:lnTo>
                      <a:lnTo>
                        <a:pt x="59" y="325"/>
                      </a:lnTo>
                      <a:lnTo>
                        <a:pt x="49" y="359"/>
                      </a:lnTo>
                      <a:lnTo>
                        <a:pt x="38" y="391"/>
                      </a:lnTo>
                      <a:lnTo>
                        <a:pt x="29" y="425"/>
                      </a:lnTo>
                      <a:lnTo>
                        <a:pt x="20" y="457"/>
                      </a:lnTo>
                      <a:lnTo>
                        <a:pt x="10" y="490"/>
                      </a:lnTo>
                      <a:lnTo>
                        <a:pt x="4" y="524"/>
                      </a:lnTo>
                      <a:lnTo>
                        <a:pt x="0" y="557"/>
                      </a:lnTo>
                      <a:lnTo>
                        <a:pt x="1" y="568"/>
                      </a:lnTo>
                      <a:lnTo>
                        <a:pt x="5" y="576"/>
                      </a:lnTo>
                      <a:lnTo>
                        <a:pt x="9" y="584"/>
                      </a:lnTo>
                      <a:lnTo>
                        <a:pt x="16" y="591"/>
                      </a:lnTo>
                      <a:lnTo>
                        <a:pt x="24" y="596"/>
                      </a:lnTo>
                      <a:lnTo>
                        <a:pt x="32" y="600"/>
                      </a:lnTo>
                      <a:lnTo>
                        <a:pt x="41" y="603"/>
                      </a:lnTo>
                      <a:lnTo>
                        <a:pt x="50" y="604"/>
                      </a:lnTo>
                      <a:lnTo>
                        <a:pt x="60" y="603"/>
                      </a:lnTo>
                      <a:lnTo>
                        <a:pt x="69" y="602"/>
                      </a:lnTo>
                      <a:lnTo>
                        <a:pt x="79" y="599"/>
                      </a:lnTo>
                      <a:lnTo>
                        <a:pt x="87" y="595"/>
                      </a:lnTo>
                      <a:lnTo>
                        <a:pt x="95" y="590"/>
                      </a:lnTo>
                      <a:lnTo>
                        <a:pt x="101" y="583"/>
                      </a:lnTo>
                      <a:lnTo>
                        <a:pt x="107" y="575"/>
                      </a:lnTo>
                      <a:lnTo>
                        <a:pt x="109" y="565"/>
                      </a:lnTo>
                      <a:lnTo>
                        <a:pt x="124" y="521"/>
                      </a:lnTo>
                      <a:lnTo>
                        <a:pt x="138" y="477"/>
                      </a:lnTo>
                      <a:lnTo>
                        <a:pt x="151" y="431"/>
                      </a:lnTo>
                      <a:lnTo>
                        <a:pt x="163" y="387"/>
                      </a:lnTo>
                      <a:lnTo>
                        <a:pt x="175" y="342"/>
                      </a:lnTo>
                      <a:lnTo>
                        <a:pt x="189" y="296"/>
                      </a:lnTo>
                      <a:lnTo>
                        <a:pt x="202" y="252"/>
                      </a:lnTo>
                      <a:lnTo>
                        <a:pt x="217" y="207"/>
                      </a:lnTo>
                      <a:lnTo>
                        <a:pt x="229" y="199"/>
                      </a:lnTo>
                      <a:lnTo>
                        <a:pt x="242" y="190"/>
                      </a:lnTo>
                      <a:lnTo>
                        <a:pt x="222" y="273"/>
                      </a:lnTo>
                      <a:lnTo>
                        <a:pt x="202" y="355"/>
                      </a:lnTo>
                      <a:lnTo>
                        <a:pt x="181" y="437"/>
                      </a:lnTo>
                      <a:lnTo>
                        <a:pt x="159" y="519"/>
                      </a:lnTo>
                      <a:lnTo>
                        <a:pt x="138" y="600"/>
                      </a:lnTo>
                      <a:lnTo>
                        <a:pt x="118" y="683"/>
                      </a:lnTo>
                      <a:lnTo>
                        <a:pt x="96" y="765"/>
                      </a:lnTo>
                      <a:lnTo>
                        <a:pt x="76" y="847"/>
                      </a:lnTo>
                      <a:lnTo>
                        <a:pt x="118" y="848"/>
                      </a:lnTo>
                      <a:lnTo>
                        <a:pt x="159" y="848"/>
                      </a:lnTo>
                      <a:lnTo>
                        <a:pt x="202" y="848"/>
                      </a:lnTo>
                      <a:lnTo>
                        <a:pt x="244" y="848"/>
                      </a:lnTo>
                      <a:lnTo>
                        <a:pt x="244" y="910"/>
                      </a:lnTo>
                      <a:lnTo>
                        <a:pt x="244" y="973"/>
                      </a:lnTo>
                      <a:lnTo>
                        <a:pt x="244" y="1035"/>
                      </a:lnTo>
                      <a:lnTo>
                        <a:pt x="244" y="1098"/>
                      </a:lnTo>
                      <a:lnTo>
                        <a:pt x="244" y="1159"/>
                      </a:lnTo>
                      <a:lnTo>
                        <a:pt x="244" y="1221"/>
                      </a:lnTo>
                      <a:lnTo>
                        <a:pt x="244" y="1284"/>
                      </a:lnTo>
                      <a:lnTo>
                        <a:pt x="245" y="1346"/>
                      </a:lnTo>
                      <a:lnTo>
                        <a:pt x="248" y="1359"/>
                      </a:lnTo>
                      <a:lnTo>
                        <a:pt x="252" y="1370"/>
                      </a:lnTo>
                      <a:lnTo>
                        <a:pt x="258" y="1379"/>
                      </a:lnTo>
                      <a:lnTo>
                        <a:pt x="266" y="1387"/>
                      </a:lnTo>
                      <a:lnTo>
                        <a:pt x="276" y="1394"/>
                      </a:lnTo>
                      <a:lnTo>
                        <a:pt x="286" y="1398"/>
                      </a:lnTo>
                      <a:lnTo>
                        <a:pt x="297" y="1401"/>
                      </a:lnTo>
                      <a:lnTo>
                        <a:pt x="308" y="1402"/>
                      </a:lnTo>
                      <a:lnTo>
                        <a:pt x="319" y="1401"/>
                      </a:lnTo>
                      <a:lnTo>
                        <a:pt x="329" y="1398"/>
                      </a:lnTo>
                      <a:lnTo>
                        <a:pt x="340" y="1394"/>
                      </a:lnTo>
                      <a:lnTo>
                        <a:pt x="349" y="1389"/>
                      </a:lnTo>
                      <a:lnTo>
                        <a:pt x="357" y="1381"/>
                      </a:lnTo>
                      <a:lnTo>
                        <a:pt x="363" y="1371"/>
                      </a:lnTo>
                      <a:lnTo>
                        <a:pt x="368" y="1359"/>
                      </a:lnTo>
                      <a:lnTo>
                        <a:pt x="370" y="1347"/>
                      </a:lnTo>
                      <a:lnTo>
                        <a:pt x="372" y="1284"/>
                      </a:lnTo>
                      <a:lnTo>
                        <a:pt x="372" y="1222"/>
                      </a:lnTo>
                      <a:lnTo>
                        <a:pt x="372" y="1159"/>
                      </a:lnTo>
                      <a:lnTo>
                        <a:pt x="372" y="1098"/>
                      </a:lnTo>
                      <a:lnTo>
                        <a:pt x="372" y="1035"/>
                      </a:lnTo>
                      <a:lnTo>
                        <a:pt x="372" y="973"/>
                      </a:lnTo>
                      <a:lnTo>
                        <a:pt x="372" y="910"/>
                      </a:lnTo>
                      <a:lnTo>
                        <a:pt x="372" y="848"/>
                      </a:lnTo>
                      <a:lnTo>
                        <a:pt x="392" y="847"/>
                      </a:lnTo>
                      <a:lnTo>
                        <a:pt x="411" y="847"/>
                      </a:lnTo>
                      <a:lnTo>
                        <a:pt x="412" y="907"/>
                      </a:lnTo>
                      <a:lnTo>
                        <a:pt x="412" y="968"/>
                      </a:lnTo>
                      <a:lnTo>
                        <a:pt x="412" y="1028"/>
                      </a:lnTo>
                      <a:lnTo>
                        <a:pt x="412" y="1088"/>
                      </a:lnTo>
                      <a:lnTo>
                        <a:pt x="412" y="1149"/>
                      </a:lnTo>
                      <a:lnTo>
                        <a:pt x="412" y="1209"/>
                      </a:lnTo>
                      <a:lnTo>
                        <a:pt x="412" y="1269"/>
                      </a:lnTo>
                      <a:lnTo>
                        <a:pt x="412" y="1330"/>
                      </a:lnTo>
                      <a:lnTo>
                        <a:pt x="412" y="1336"/>
                      </a:lnTo>
                      <a:lnTo>
                        <a:pt x="412" y="1343"/>
                      </a:lnTo>
                      <a:lnTo>
                        <a:pt x="414" y="1350"/>
                      </a:lnTo>
                      <a:lnTo>
                        <a:pt x="415" y="1357"/>
                      </a:lnTo>
                      <a:lnTo>
                        <a:pt x="418" y="1363"/>
                      </a:lnTo>
                      <a:lnTo>
                        <a:pt x="420" y="1370"/>
                      </a:lnTo>
                      <a:lnTo>
                        <a:pt x="425" y="1375"/>
                      </a:lnTo>
                      <a:lnTo>
                        <a:pt x="429" y="1381"/>
                      </a:lnTo>
                      <a:lnTo>
                        <a:pt x="433" y="1386"/>
                      </a:lnTo>
                      <a:lnTo>
                        <a:pt x="438" y="1391"/>
                      </a:lnTo>
                      <a:lnTo>
                        <a:pt x="443" y="1394"/>
                      </a:lnTo>
                      <a:lnTo>
                        <a:pt x="450" y="1398"/>
                      </a:lnTo>
                      <a:lnTo>
                        <a:pt x="457" y="1401"/>
                      </a:lnTo>
                      <a:lnTo>
                        <a:pt x="463" y="1402"/>
                      </a:lnTo>
                      <a:lnTo>
                        <a:pt x="470" y="1403"/>
                      </a:lnTo>
                      <a:lnTo>
                        <a:pt x="477" y="1403"/>
                      </a:lnTo>
                      <a:lnTo>
                        <a:pt x="485" y="1403"/>
                      </a:lnTo>
                      <a:lnTo>
                        <a:pt x="492" y="1402"/>
                      </a:lnTo>
                      <a:lnTo>
                        <a:pt x="498" y="1399"/>
                      </a:lnTo>
                      <a:lnTo>
                        <a:pt x="504" y="1397"/>
                      </a:lnTo>
                      <a:lnTo>
                        <a:pt x="510" y="1393"/>
                      </a:lnTo>
                      <a:lnTo>
                        <a:pt x="516" y="1389"/>
                      </a:lnTo>
                      <a:lnTo>
                        <a:pt x="520" y="1385"/>
                      </a:lnTo>
                      <a:lnTo>
                        <a:pt x="524" y="1379"/>
                      </a:lnTo>
                      <a:lnTo>
                        <a:pt x="532" y="1367"/>
                      </a:lnTo>
                      <a:lnTo>
                        <a:pt x="537" y="1354"/>
                      </a:lnTo>
                      <a:lnTo>
                        <a:pt x="540" y="1340"/>
                      </a:lnTo>
                      <a:lnTo>
                        <a:pt x="540" y="1327"/>
                      </a:lnTo>
                      <a:lnTo>
                        <a:pt x="541" y="1267"/>
                      </a:lnTo>
                      <a:lnTo>
                        <a:pt x="542" y="1208"/>
                      </a:lnTo>
                      <a:lnTo>
                        <a:pt x="542" y="1147"/>
                      </a:lnTo>
                      <a:lnTo>
                        <a:pt x="541" y="1087"/>
                      </a:lnTo>
                      <a:lnTo>
                        <a:pt x="541" y="1028"/>
                      </a:lnTo>
                      <a:lnTo>
                        <a:pt x="541" y="968"/>
                      </a:lnTo>
                      <a:lnTo>
                        <a:pt x="541" y="907"/>
                      </a:lnTo>
                      <a:lnTo>
                        <a:pt x="542" y="848"/>
                      </a:lnTo>
                      <a:lnTo>
                        <a:pt x="584" y="848"/>
                      </a:lnTo>
                      <a:lnTo>
                        <a:pt x="626" y="848"/>
                      </a:lnTo>
                      <a:lnTo>
                        <a:pt x="667" y="848"/>
                      </a:lnTo>
                      <a:lnTo>
                        <a:pt x="709" y="848"/>
                      </a:lnTo>
                      <a:lnTo>
                        <a:pt x="686" y="764"/>
                      </a:lnTo>
                      <a:lnTo>
                        <a:pt x="662" y="681"/>
                      </a:lnTo>
                      <a:lnTo>
                        <a:pt x="636" y="598"/>
                      </a:lnTo>
                      <a:lnTo>
                        <a:pt x="612" y="515"/>
                      </a:lnTo>
                      <a:lnTo>
                        <a:pt x="588" y="430"/>
                      </a:lnTo>
                      <a:lnTo>
                        <a:pt x="564" y="347"/>
                      </a:lnTo>
                      <a:lnTo>
                        <a:pt x="541" y="264"/>
                      </a:lnTo>
                      <a:lnTo>
                        <a:pt x="521" y="179"/>
                      </a:lnTo>
                      <a:lnTo>
                        <a:pt x="532" y="189"/>
                      </a:lnTo>
                      <a:lnTo>
                        <a:pt x="542" y="198"/>
                      </a:lnTo>
                      <a:lnTo>
                        <a:pt x="547" y="203"/>
                      </a:lnTo>
                      <a:lnTo>
                        <a:pt x="551" y="210"/>
                      </a:lnTo>
                      <a:lnTo>
                        <a:pt x="553" y="216"/>
                      </a:lnTo>
                      <a:lnTo>
                        <a:pt x="556" y="224"/>
                      </a:lnTo>
                      <a:lnTo>
                        <a:pt x="571" y="265"/>
                      </a:lnTo>
                      <a:lnTo>
                        <a:pt x="584" y="308"/>
                      </a:lnTo>
                      <a:lnTo>
                        <a:pt x="596" y="352"/>
                      </a:lnTo>
                      <a:lnTo>
                        <a:pt x="610" y="395"/>
                      </a:lnTo>
                      <a:lnTo>
                        <a:pt x="623" y="438"/>
                      </a:lnTo>
                      <a:lnTo>
                        <a:pt x="636" y="481"/>
                      </a:lnTo>
                      <a:lnTo>
                        <a:pt x="650" y="523"/>
                      </a:lnTo>
                      <a:lnTo>
                        <a:pt x="664" y="565"/>
                      </a:lnTo>
                      <a:lnTo>
                        <a:pt x="669" y="572"/>
                      </a:lnTo>
                      <a:lnTo>
                        <a:pt x="673" y="579"/>
                      </a:lnTo>
                      <a:lnTo>
                        <a:pt x="678" y="584"/>
                      </a:lnTo>
                      <a:lnTo>
                        <a:pt x="683" y="590"/>
                      </a:lnTo>
                      <a:lnTo>
                        <a:pt x="689" y="592"/>
                      </a:lnTo>
                      <a:lnTo>
                        <a:pt x="695" y="596"/>
                      </a:lnTo>
                      <a:lnTo>
                        <a:pt x="701" y="599"/>
                      </a:lnTo>
                      <a:lnTo>
                        <a:pt x="709" y="600"/>
                      </a:lnTo>
                      <a:lnTo>
                        <a:pt x="722" y="602"/>
                      </a:lnTo>
                      <a:lnTo>
                        <a:pt x="737" y="602"/>
                      </a:lnTo>
                      <a:lnTo>
                        <a:pt x="752" y="599"/>
                      </a:lnTo>
                      <a:lnTo>
                        <a:pt x="765" y="595"/>
                      </a:lnTo>
                      <a:lnTo>
                        <a:pt x="769" y="579"/>
                      </a:lnTo>
                      <a:lnTo>
                        <a:pt x="770" y="564"/>
                      </a:lnTo>
                      <a:lnTo>
                        <a:pt x="770" y="548"/>
                      </a:lnTo>
                      <a:lnTo>
                        <a:pt x="769" y="533"/>
                      </a:lnTo>
                      <a:lnTo>
                        <a:pt x="768" y="517"/>
                      </a:lnTo>
                      <a:lnTo>
                        <a:pt x="765" y="502"/>
                      </a:lnTo>
                      <a:lnTo>
                        <a:pt x="762" y="486"/>
                      </a:lnTo>
                      <a:lnTo>
                        <a:pt x="758" y="472"/>
                      </a:lnTo>
                      <a:lnTo>
                        <a:pt x="749" y="442"/>
                      </a:lnTo>
                      <a:lnTo>
                        <a:pt x="740" y="411"/>
                      </a:lnTo>
                      <a:lnTo>
                        <a:pt x="730" y="382"/>
                      </a:lnTo>
                      <a:lnTo>
                        <a:pt x="722" y="352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vert="horz" wrap="square" lIns="91440" tIns="45720" rIns="91440" bIns="45720" numCol="1" anchor="t" anchorCtr="0" compatLnSpc="1"/>
                <a:lstStyle/>
                <a:p>
                  <a:endParaRPr lang="en-US" dirty="0">
                    <a:latin typeface="微软雅黑" panose="020B0503020204020204" pitchFamily="34" charset="-122"/>
                    <a:ea typeface="微软雅黑" panose="020B0503020204020204" pitchFamily="34" charset="-122"/>
                    <a:cs typeface="等线" panose="02010600030101010101" charset="-122"/>
                    <a:sym typeface="等线"/>
                  </a:endParaRPr>
                </a:p>
              </p:txBody>
            </p:sp>
          </p:grpSp>
        </p:grpSp>
        <p:sp>
          <p:nvSpPr>
            <p:cNvPr id="32" name="Rectangle 125"/>
            <p:cNvSpPr/>
            <p:nvPr/>
          </p:nvSpPr>
          <p:spPr>
            <a:xfrm>
              <a:off x="10080523" y="1857584"/>
              <a:ext cx="1288569" cy="51929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等线" panose="02010600030101010101" charset="-122"/>
                  <a:sym typeface="等线"/>
                </a:rPr>
                <a:t>54%</a:t>
              </a:r>
              <a:endPara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33" name="Rectangle 132"/>
            <p:cNvSpPr/>
            <p:nvPr/>
          </p:nvSpPr>
          <p:spPr>
            <a:xfrm>
              <a:off x="10080523" y="2614516"/>
              <a:ext cx="1225337" cy="5192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等线" panose="02010600030101010101" charset="-122"/>
                  <a:sym typeface="等线"/>
                </a:rPr>
                <a:t>84%</a:t>
              </a:r>
              <a:endParaRPr lang="en-US" sz="11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126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867724" y="2677762"/>
            <a:ext cx="3174792" cy="12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grpSp>
        <p:nvGrpSpPr>
          <p:cNvPr id="127" name="组合 12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184412" y="1035004"/>
            <a:ext cx="688468" cy="235211"/>
            <a:chOff x="4375901" y="3868502"/>
            <a:chExt cx="990347" cy="338346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128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29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130" name="TextBox 1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8136893" y="1753971"/>
            <a:ext cx="23535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等线" panose="02010600030101010101" charset="-122"/>
              </a:rPr>
              <a:t>Map </a:t>
            </a:r>
            <a:r>
              <a:rPr lang="en-US" altLang="zh-CN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等线" panose="02010600030101010101" charset="-122"/>
              </a:rPr>
              <a:t>Data</a:t>
            </a:r>
            <a:endParaRPr lang="en-US" sz="3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33" name="TextBox 12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8189646" y="2447856"/>
            <a:ext cx="3457998" cy="294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cs typeface="等线" panose="02010600030101010101" charset="-122"/>
              </a:rPr>
              <a:t>This is your sample text</a:t>
            </a:r>
          </a:p>
        </p:txBody>
      </p:sp>
      <p:grpSp>
        <p:nvGrpSpPr>
          <p:cNvPr id="134" name="Group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196140" y="2956875"/>
            <a:ext cx="3515214" cy="2647787"/>
            <a:chOff x="7017971" y="3396491"/>
            <a:chExt cx="2155825" cy="2647787"/>
          </a:xfrm>
        </p:grpSpPr>
        <p:graphicFrame>
          <p:nvGraphicFramePr>
            <p:cNvPr id="135" name="Chart 116"/>
            <p:cNvGraphicFramePr/>
            <p:nvPr/>
          </p:nvGraphicFramePr>
          <p:xfrm>
            <a:off x="7017971" y="3396491"/>
            <a:ext cx="2155825" cy="226255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36" name="TextBox 130"/>
            <p:cNvSpPr txBox="1"/>
            <p:nvPr/>
          </p:nvSpPr>
          <p:spPr>
            <a:xfrm>
              <a:off x="7247691" y="5745094"/>
              <a:ext cx="1696384" cy="299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+mj-lt"/>
                  <a:cs typeface="等线" panose="02010600030101010101" charset="-122"/>
                </a:rPr>
                <a:t>Chart number 01</a:t>
              </a:r>
            </a:p>
          </p:txBody>
        </p:sp>
      </p:grpSp>
      <p:sp>
        <p:nvSpPr>
          <p:cNvPr id="140" name="TextBox 12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292938" y="2230979"/>
            <a:ext cx="3457998" cy="294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cs typeface="等线" panose="02010600030101010101" charset="-122"/>
              </a:rPr>
              <a:t>This is your sample text</a:t>
            </a: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2000">
        <p:random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 advTm="2000">
        <p:random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占位符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9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142" name="Rectangle 14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>
                  <a:alpha val="17000"/>
                </a:schemeClr>
              </a:gs>
              <a:gs pos="9000">
                <a:schemeClr val="accent2">
                  <a:lumMod val="60000"/>
                  <a:lumOff val="40000"/>
                  <a:alpha val="43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等线" panose="02010600030101010101" charset="-122"/>
            </a:endParaRPr>
          </a:p>
        </p:txBody>
      </p:sp>
      <p:pic>
        <p:nvPicPr>
          <p:cNvPr id="159" name="Picture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12535" y="1042517"/>
            <a:ext cx="9843742" cy="5988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World Map</a:t>
            </a:r>
          </a:p>
        </p:txBody>
      </p:sp>
      <p:grpSp>
        <p:nvGrpSpPr>
          <p:cNvPr id="150" name="Group 14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 flipH="1">
            <a:off x="8241995" y="3808852"/>
            <a:ext cx="1755058" cy="728285"/>
            <a:chOff x="663678" y="1186617"/>
            <a:chExt cx="1755058" cy="728285"/>
          </a:xfrm>
        </p:grpSpPr>
        <p:sp>
          <p:nvSpPr>
            <p:cNvPr id="151" name="Rectangle: Rounded Corners 150"/>
            <p:cNvSpPr/>
            <p:nvPr/>
          </p:nvSpPr>
          <p:spPr>
            <a:xfrm>
              <a:off x="663678" y="1186622"/>
              <a:ext cx="1755058" cy="728280"/>
            </a:xfrm>
            <a:prstGeom prst="roundRect">
              <a:avLst>
                <a:gd name="adj" fmla="val 6542"/>
              </a:avLst>
            </a:prstGeom>
            <a:solidFill>
              <a:schemeClr val="bg1"/>
            </a:solidFill>
            <a:ln>
              <a:noFill/>
            </a:ln>
            <a:effectLst>
              <a:outerShdw blurRad="317500" dir="18900000" sy="23000" kx="-1200000" algn="b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  <p:sp>
          <p:nvSpPr>
            <p:cNvPr id="152" name="Rectangle: Top Corners Rounded 151"/>
            <p:cNvSpPr/>
            <p:nvPr/>
          </p:nvSpPr>
          <p:spPr>
            <a:xfrm rot="16200000">
              <a:off x="324886" y="1525409"/>
              <a:ext cx="728281" cy="5069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28" name="Group 2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644044" y="4172997"/>
            <a:ext cx="1597951" cy="759060"/>
            <a:chOff x="6644044" y="3839223"/>
            <a:chExt cx="1597951" cy="759060"/>
          </a:xfrm>
        </p:grpSpPr>
        <p:cxnSp>
          <p:nvCxnSpPr>
            <p:cNvPr id="155" name="Straight Connector 154"/>
            <p:cNvCxnSpPr>
              <a:stCxn id="151" idx="3"/>
            </p:cNvCxnSpPr>
            <p:nvPr/>
          </p:nvCxnSpPr>
          <p:spPr>
            <a:xfrm flipH="1">
              <a:off x="6692296" y="3839223"/>
              <a:ext cx="1549699" cy="70459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20"/>
            <p:cNvSpPr/>
            <p:nvPr/>
          </p:nvSpPr>
          <p:spPr>
            <a:xfrm>
              <a:off x="6644044" y="4480218"/>
              <a:ext cx="118065" cy="11806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147" name="Group 14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 flipH="1">
            <a:off x="9394896" y="1803200"/>
            <a:ext cx="1755058" cy="728285"/>
            <a:chOff x="663678" y="1186617"/>
            <a:chExt cx="1755058" cy="728285"/>
          </a:xfrm>
        </p:grpSpPr>
        <p:sp>
          <p:nvSpPr>
            <p:cNvPr id="148" name="Rectangle: Rounded Corners 147"/>
            <p:cNvSpPr/>
            <p:nvPr/>
          </p:nvSpPr>
          <p:spPr>
            <a:xfrm>
              <a:off x="663678" y="1186622"/>
              <a:ext cx="1755058" cy="728280"/>
            </a:xfrm>
            <a:prstGeom prst="roundRect">
              <a:avLst>
                <a:gd name="adj" fmla="val 6542"/>
              </a:avLst>
            </a:prstGeom>
            <a:solidFill>
              <a:schemeClr val="bg1"/>
            </a:solidFill>
            <a:ln>
              <a:noFill/>
            </a:ln>
            <a:effectLst>
              <a:outerShdw blurRad="317500" dir="18900000" sy="23000" kx="-1200000" algn="b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  <p:sp>
          <p:nvSpPr>
            <p:cNvPr id="149" name="Rectangle: Top Corners Rounded 148"/>
            <p:cNvSpPr/>
            <p:nvPr/>
          </p:nvSpPr>
          <p:spPr>
            <a:xfrm rot="16200000">
              <a:off x="324886" y="1525409"/>
              <a:ext cx="728281" cy="50697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26" name="Group 2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661193" y="2167345"/>
            <a:ext cx="1733703" cy="1149770"/>
            <a:chOff x="7661193" y="1833571"/>
            <a:chExt cx="1733703" cy="1149770"/>
          </a:xfrm>
        </p:grpSpPr>
        <p:cxnSp>
          <p:nvCxnSpPr>
            <p:cNvPr id="154" name="Straight Connector 153"/>
            <p:cNvCxnSpPr>
              <a:stCxn id="148" idx="3"/>
            </p:cNvCxnSpPr>
            <p:nvPr/>
          </p:nvCxnSpPr>
          <p:spPr>
            <a:xfrm flipH="1">
              <a:off x="7709397" y="1833571"/>
              <a:ext cx="1685499" cy="109586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Oval 155"/>
            <p:cNvSpPr/>
            <p:nvPr/>
          </p:nvSpPr>
          <p:spPr>
            <a:xfrm>
              <a:off x="7661193" y="2865276"/>
              <a:ext cx="118065" cy="11806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144" name="Group 14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4077229" y="1901161"/>
            <a:ext cx="1755058" cy="728285"/>
            <a:chOff x="663678" y="1186617"/>
            <a:chExt cx="1755058" cy="728285"/>
          </a:xfrm>
        </p:grpSpPr>
        <p:sp>
          <p:nvSpPr>
            <p:cNvPr id="145" name="Rectangle: Rounded Corners 144"/>
            <p:cNvSpPr/>
            <p:nvPr/>
          </p:nvSpPr>
          <p:spPr>
            <a:xfrm>
              <a:off x="663678" y="1186622"/>
              <a:ext cx="1755058" cy="728280"/>
            </a:xfrm>
            <a:prstGeom prst="roundRect">
              <a:avLst>
                <a:gd name="adj" fmla="val 6542"/>
              </a:avLst>
            </a:prstGeom>
            <a:solidFill>
              <a:schemeClr val="bg1"/>
            </a:solidFill>
            <a:ln>
              <a:noFill/>
            </a:ln>
            <a:effectLst>
              <a:outerShdw blurRad="317500" dir="18900000" sy="23000" kx="-1200000" algn="b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  <p:sp>
          <p:nvSpPr>
            <p:cNvPr id="146" name="Rectangle: Top Corners Rounded 145"/>
            <p:cNvSpPr/>
            <p:nvPr/>
          </p:nvSpPr>
          <p:spPr>
            <a:xfrm rot="16200000">
              <a:off x="324886" y="1525409"/>
              <a:ext cx="728281" cy="50697"/>
            </a:xfrm>
            <a:prstGeom prst="round2SameRect">
              <a:avLst>
                <a:gd name="adj1" fmla="val 50000"/>
                <a:gd name="adj2" fmla="val 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24" name="Group 2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832287" y="2265306"/>
            <a:ext cx="299072" cy="1474378"/>
            <a:chOff x="5832287" y="1931532"/>
            <a:chExt cx="299072" cy="1474378"/>
          </a:xfrm>
        </p:grpSpPr>
        <p:cxnSp>
          <p:nvCxnSpPr>
            <p:cNvPr id="153" name="Straight Connector 152"/>
            <p:cNvCxnSpPr>
              <a:stCxn id="145" idx="3"/>
            </p:cNvCxnSpPr>
            <p:nvPr/>
          </p:nvCxnSpPr>
          <p:spPr>
            <a:xfrm>
              <a:off x="5832287" y="1931532"/>
              <a:ext cx="242827" cy="1437213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Oval 156"/>
            <p:cNvSpPr/>
            <p:nvPr/>
          </p:nvSpPr>
          <p:spPr>
            <a:xfrm>
              <a:off x="6013294" y="3287845"/>
              <a:ext cx="118065" cy="11806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12" name="Group 1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63678" y="1520391"/>
            <a:ext cx="1755058" cy="728285"/>
            <a:chOff x="663678" y="1186617"/>
            <a:chExt cx="1755058" cy="728285"/>
          </a:xfrm>
        </p:grpSpPr>
        <p:sp>
          <p:nvSpPr>
            <p:cNvPr id="10" name="Rectangle: Rounded Corners 9"/>
            <p:cNvSpPr/>
            <p:nvPr/>
          </p:nvSpPr>
          <p:spPr>
            <a:xfrm>
              <a:off x="663678" y="1186622"/>
              <a:ext cx="1755058" cy="728280"/>
            </a:xfrm>
            <a:prstGeom prst="roundRect">
              <a:avLst>
                <a:gd name="adj" fmla="val 6542"/>
              </a:avLst>
            </a:prstGeom>
            <a:solidFill>
              <a:schemeClr val="bg1"/>
            </a:solidFill>
            <a:ln>
              <a:noFill/>
            </a:ln>
            <a:effectLst>
              <a:outerShdw blurRad="317500" dir="18900000" sy="23000" kx="-1200000" algn="b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  <p:sp>
          <p:nvSpPr>
            <p:cNvPr id="11" name="Rectangle: Top Corners Rounded 10"/>
            <p:cNvSpPr/>
            <p:nvPr/>
          </p:nvSpPr>
          <p:spPr>
            <a:xfrm rot="16200000">
              <a:off x="324886" y="1525409"/>
              <a:ext cx="728281" cy="50697"/>
            </a:xfrm>
            <a:prstGeom prst="round2SameRect">
              <a:avLst>
                <a:gd name="adj1" fmla="val 50000"/>
                <a:gd name="adj2" fmla="val 0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22" name="Group 2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2418736" y="1884536"/>
            <a:ext cx="986591" cy="2297717"/>
            <a:chOff x="2418736" y="1550762"/>
            <a:chExt cx="986591" cy="2297717"/>
          </a:xfrm>
        </p:grpSpPr>
        <p:cxnSp>
          <p:nvCxnSpPr>
            <p:cNvPr id="14" name="Straight Connector 13"/>
            <p:cNvCxnSpPr>
              <a:stCxn id="10" idx="3"/>
            </p:cNvCxnSpPr>
            <p:nvPr/>
          </p:nvCxnSpPr>
          <p:spPr>
            <a:xfrm>
              <a:off x="2418736" y="1550762"/>
              <a:ext cx="919473" cy="2239771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Oval 157"/>
            <p:cNvSpPr/>
            <p:nvPr/>
          </p:nvSpPr>
          <p:spPr>
            <a:xfrm>
              <a:off x="3287262" y="3730414"/>
              <a:ext cx="118065" cy="11806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sx="102000" sy="102000" algn="ctr" rotWithShape="0">
                <a:schemeClr val="bg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等线" panose="02010600030101010101" charset="-122"/>
              </a:endParaRPr>
            </a:p>
          </p:txBody>
        </p:sp>
      </p:grpSp>
      <p:grpSp>
        <p:nvGrpSpPr>
          <p:cNvPr id="30" name="Group 2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76684" y="1579671"/>
            <a:ext cx="1331571" cy="604745"/>
            <a:chOff x="844337" y="1245897"/>
            <a:chExt cx="1331571" cy="604745"/>
          </a:xfrm>
        </p:grpSpPr>
        <p:sp>
          <p:nvSpPr>
            <p:cNvPr id="160" name="TextBox 159"/>
            <p:cNvSpPr txBox="1"/>
            <p:nvPr/>
          </p:nvSpPr>
          <p:spPr>
            <a:xfrm>
              <a:off x="844337" y="1245897"/>
              <a:ext cx="133157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等线" panose="02010600030101010101" charset="-122"/>
                </a:rPr>
                <a:t>10093</a:t>
              </a:r>
            </a:p>
          </p:txBody>
        </p:sp>
        <p:sp>
          <p:nvSpPr>
            <p:cNvPr id="161" name="TextBox 160"/>
            <p:cNvSpPr txBox="1"/>
            <p:nvPr/>
          </p:nvSpPr>
          <p:spPr>
            <a:xfrm>
              <a:off x="864472" y="1573643"/>
              <a:ext cx="12841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Your Text Here</a:t>
              </a:r>
            </a:p>
          </p:txBody>
        </p:sp>
      </p:grpSp>
      <p:grpSp>
        <p:nvGrpSpPr>
          <p:cNvPr id="162" name="Group 16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424215" y="3870547"/>
            <a:ext cx="1331571" cy="604745"/>
            <a:chOff x="844337" y="1245897"/>
            <a:chExt cx="1331571" cy="604745"/>
          </a:xfrm>
        </p:grpSpPr>
        <p:sp>
          <p:nvSpPr>
            <p:cNvPr id="163" name="TextBox 162"/>
            <p:cNvSpPr txBox="1"/>
            <p:nvPr/>
          </p:nvSpPr>
          <p:spPr>
            <a:xfrm>
              <a:off x="844337" y="1245897"/>
              <a:ext cx="133157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  <a:cs typeface="等线" panose="02010600030101010101" charset="-122"/>
                </a:rPr>
                <a:t>12500</a:t>
              </a:r>
            </a:p>
          </p:txBody>
        </p:sp>
        <p:sp>
          <p:nvSpPr>
            <p:cNvPr id="164" name="TextBox 163"/>
            <p:cNvSpPr txBox="1"/>
            <p:nvPr/>
          </p:nvSpPr>
          <p:spPr>
            <a:xfrm>
              <a:off x="864472" y="1573643"/>
              <a:ext cx="128413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cs typeface="等线" panose="02010600030101010101" charset="-122"/>
                </a:rPr>
                <a:t>Your Text Here</a:t>
              </a:r>
            </a:p>
          </p:txBody>
        </p:sp>
      </p:grpSp>
      <p:sp>
        <p:nvSpPr>
          <p:cNvPr id="167" name="Freeform 3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EditPoints="1"/>
          </p:cNvSpPr>
          <p:nvPr/>
        </p:nvSpPr>
        <p:spPr bwMode="auto">
          <a:xfrm>
            <a:off x="4250612" y="2138529"/>
            <a:ext cx="306388" cy="266700"/>
          </a:xfrm>
          <a:custGeom>
            <a:avLst/>
            <a:gdLst>
              <a:gd name="T0" fmla="*/ 192 w 212"/>
              <a:gd name="T1" fmla="*/ 0 h 184"/>
              <a:gd name="T2" fmla="*/ 20 w 212"/>
              <a:gd name="T3" fmla="*/ 0 h 184"/>
              <a:gd name="T4" fmla="*/ 0 w 212"/>
              <a:gd name="T5" fmla="*/ 20 h 184"/>
              <a:gd name="T6" fmla="*/ 0 w 212"/>
              <a:gd name="T7" fmla="*/ 92 h 184"/>
              <a:gd name="T8" fmla="*/ 20 w 212"/>
              <a:gd name="T9" fmla="*/ 112 h 184"/>
              <a:gd name="T10" fmla="*/ 32 w 212"/>
              <a:gd name="T11" fmla="*/ 108 h 184"/>
              <a:gd name="T12" fmla="*/ 32 w 212"/>
              <a:gd name="T13" fmla="*/ 180 h 184"/>
              <a:gd name="T14" fmla="*/ 32 w 212"/>
              <a:gd name="T15" fmla="*/ 184 h 184"/>
              <a:gd name="T16" fmla="*/ 176 w 212"/>
              <a:gd name="T17" fmla="*/ 184 h 184"/>
              <a:gd name="T18" fmla="*/ 180 w 212"/>
              <a:gd name="T19" fmla="*/ 184 h 184"/>
              <a:gd name="T20" fmla="*/ 180 w 212"/>
              <a:gd name="T21" fmla="*/ 108 h 184"/>
              <a:gd name="T22" fmla="*/ 192 w 212"/>
              <a:gd name="T23" fmla="*/ 112 h 184"/>
              <a:gd name="T24" fmla="*/ 212 w 212"/>
              <a:gd name="T25" fmla="*/ 92 h 184"/>
              <a:gd name="T26" fmla="*/ 212 w 212"/>
              <a:gd name="T27" fmla="*/ 20 h 184"/>
              <a:gd name="T28" fmla="*/ 192 w 212"/>
              <a:gd name="T29" fmla="*/ 0 h 184"/>
              <a:gd name="T30" fmla="*/ 172 w 212"/>
              <a:gd name="T31" fmla="*/ 176 h 184"/>
              <a:gd name="T32" fmla="*/ 40 w 212"/>
              <a:gd name="T33" fmla="*/ 176 h 184"/>
              <a:gd name="T34" fmla="*/ 40 w 212"/>
              <a:gd name="T35" fmla="*/ 60 h 184"/>
              <a:gd name="T36" fmla="*/ 52 w 212"/>
              <a:gd name="T37" fmla="*/ 48 h 184"/>
              <a:gd name="T38" fmla="*/ 160 w 212"/>
              <a:gd name="T39" fmla="*/ 48 h 184"/>
              <a:gd name="T40" fmla="*/ 172 w 212"/>
              <a:gd name="T41" fmla="*/ 60 h 184"/>
              <a:gd name="T42" fmla="*/ 172 w 212"/>
              <a:gd name="T43" fmla="*/ 176 h 184"/>
              <a:gd name="T44" fmla="*/ 204 w 212"/>
              <a:gd name="T45" fmla="*/ 92 h 184"/>
              <a:gd name="T46" fmla="*/ 192 w 212"/>
              <a:gd name="T47" fmla="*/ 104 h 184"/>
              <a:gd name="T48" fmla="*/ 180 w 212"/>
              <a:gd name="T49" fmla="*/ 92 h 184"/>
              <a:gd name="T50" fmla="*/ 180 w 212"/>
              <a:gd name="T51" fmla="*/ 48 h 184"/>
              <a:gd name="T52" fmla="*/ 188 w 212"/>
              <a:gd name="T53" fmla="*/ 48 h 184"/>
              <a:gd name="T54" fmla="*/ 188 w 212"/>
              <a:gd name="T55" fmla="*/ 40 h 184"/>
              <a:gd name="T56" fmla="*/ 24 w 212"/>
              <a:gd name="T57" fmla="*/ 40 h 184"/>
              <a:gd name="T58" fmla="*/ 24 w 212"/>
              <a:gd name="T59" fmla="*/ 48 h 184"/>
              <a:gd name="T60" fmla="*/ 32 w 212"/>
              <a:gd name="T61" fmla="*/ 48 h 184"/>
              <a:gd name="T62" fmla="*/ 32 w 212"/>
              <a:gd name="T63" fmla="*/ 92 h 184"/>
              <a:gd name="T64" fmla="*/ 20 w 212"/>
              <a:gd name="T65" fmla="*/ 104 h 184"/>
              <a:gd name="T66" fmla="*/ 8 w 212"/>
              <a:gd name="T67" fmla="*/ 92 h 184"/>
              <a:gd name="T68" fmla="*/ 8 w 212"/>
              <a:gd name="T69" fmla="*/ 20 h 184"/>
              <a:gd name="T70" fmla="*/ 20 w 212"/>
              <a:gd name="T71" fmla="*/ 8 h 184"/>
              <a:gd name="T72" fmla="*/ 192 w 212"/>
              <a:gd name="T73" fmla="*/ 8 h 184"/>
              <a:gd name="T74" fmla="*/ 204 w 212"/>
              <a:gd name="T75" fmla="*/ 20 h 184"/>
              <a:gd name="T76" fmla="*/ 204 w 212"/>
              <a:gd name="T77" fmla="*/ 92 h 184"/>
              <a:gd name="T78" fmla="*/ 112 w 212"/>
              <a:gd name="T79" fmla="*/ 64 h 184"/>
              <a:gd name="T80" fmla="*/ 52 w 212"/>
              <a:gd name="T81" fmla="*/ 64 h 184"/>
              <a:gd name="T82" fmla="*/ 52 w 212"/>
              <a:gd name="T83" fmla="*/ 72 h 184"/>
              <a:gd name="T84" fmla="*/ 112 w 212"/>
              <a:gd name="T85" fmla="*/ 72 h 184"/>
              <a:gd name="T86" fmla="*/ 112 w 212"/>
              <a:gd name="T87" fmla="*/ 64 h 184"/>
              <a:gd name="T88" fmla="*/ 52 w 212"/>
              <a:gd name="T89" fmla="*/ 100 h 184"/>
              <a:gd name="T90" fmla="*/ 132 w 212"/>
              <a:gd name="T91" fmla="*/ 100 h 184"/>
              <a:gd name="T92" fmla="*/ 132 w 212"/>
              <a:gd name="T93" fmla="*/ 92 h 184"/>
              <a:gd name="T94" fmla="*/ 52 w 212"/>
              <a:gd name="T95" fmla="*/ 92 h 184"/>
              <a:gd name="T96" fmla="*/ 52 w 212"/>
              <a:gd name="T97" fmla="*/ 100 h 184"/>
              <a:gd name="T98" fmla="*/ 52 w 212"/>
              <a:gd name="T99" fmla="*/ 128 h 184"/>
              <a:gd name="T100" fmla="*/ 132 w 212"/>
              <a:gd name="T101" fmla="*/ 128 h 184"/>
              <a:gd name="T102" fmla="*/ 132 w 212"/>
              <a:gd name="T103" fmla="*/ 120 h 184"/>
              <a:gd name="T104" fmla="*/ 52 w 212"/>
              <a:gd name="T105" fmla="*/ 120 h 184"/>
              <a:gd name="T106" fmla="*/ 52 w 212"/>
              <a:gd name="T107" fmla="*/ 128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11" h="184">
                <a:moveTo>
                  <a:pt x="192" y="0"/>
                </a:moveTo>
                <a:cubicBezTo>
                  <a:pt x="20" y="0"/>
                  <a:pt x="20" y="0"/>
                  <a:pt x="20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92"/>
                  <a:pt x="0" y="92"/>
                  <a:pt x="0" y="92"/>
                </a:cubicBezTo>
                <a:cubicBezTo>
                  <a:pt x="0" y="103"/>
                  <a:pt x="9" y="112"/>
                  <a:pt x="20" y="112"/>
                </a:cubicBezTo>
                <a:cubicBezTo>
                  <a:pt x="25" y="112"/>
                  <a:pt x="29" y="110"/>
                  <a:pt x="32" y="108"/>
                </a:cubicBezTo>
                <a:cubicBezTo>
                  <a:pt x="32" y="180"/>
                  <a:pt x="32" y="180"/>
                  <a:pt x="32" y="180"/>
                </a:cubicBezTo>
                <a:cubicBezTo>
                  <a:pt x="32" y="184"/>
                  <a:pt x="32" y="184"/>
                  <a:pt x="32" y="184"/>
                </a:cubicBezTo>
                <a:cubicBezTo>
                  <a:pt x="176" y="184"/>
                  <a:pt x="176" y="184"/>
                  <a:pt x="176" y="184"/>
                </a:cubicBezTo>
                <a:cubicBezTo>
                  <a:pt x="180" y="184"/>
                  <a:pt x="180" y="184"/>
                  <a:pt x="180" y="184"/>
                </a:cubicBezTo>
                <a:cubicBezTo>
                  <a:pt x="180" y="108"/>
                  <a:pt x="180" y="108"/>
                  <a:pt x="180" y="108"/>
                </a:cubicBezTo>
                <a:cubicBezTo>
                  <a:pt x="183" y="110"/>
                  <a:pt x="187" y="112"/>
                  <a:pt x="192" y="112"/>
                </a:cubicBezTo>
                <a:cubicBezTo>
                  <a:pt x="203" y="112"/>
                  <a:pt x="212" y="103"/>
                  <a:pt x="212" y="92"/>
                </a:cubicBezTo>
                <a:cubicBezTo>
                  <a:pt x="212" y="20"/>
                  <a:pt x="212" y="20"/>
                  <a:pt x="212" y="20"/>
                </a:cubicBezTo>
                <a:cubicBezTo>
                  <a:pt x="212" y="9"/>
                  <a:pt x="203" y="0"/>
                  <a:pt x="192" y="0"/>
                </a:cubicBezTo>
                <a:close/>
                <a:moveTo>
                  <a:pt x="172" y="176"/>
                </a:moveTo>
                <a:cubicBezTo>
                  <a:pt x="40" y="176"/>
                  <a:pt x="40" y="176"/>
                  <a:pt x="40" y="176"/>
                </a:cubicBezTo>
                <a:cubicBezTo>
                  <a:pt x="40" y="60"/>
                  <a:pt x="40" y="60"/>
                  <a:pt x="40" y="60"/>
                </a:cubicBezTo>
                <a:cubicBezTo>
                  <a:pt x="40" y="53"/>
                  <a:pt x="45" y="48"/>
                  <a:pt x="52" y="48"/>
                </a:cubicBezTo>
                <a:cubicBezTo>
                  <a:pt x="160" y="48"/>
                  <a:pt x="160" y="48"/>
                  <a:pt x="160" y="48"/>
                </a:cubicBezTo>
                <a:cubicBezTo>
                  <a:pt x="167" y="48"/>
                  <a:pt x="172" y="53"/>
                  <a:pt x="172" y="60"/>
                </a:cubicBezTo>
                <a:lnTo>
                  <a:pt x="172" y="176"/>
                </a:lnTo>
                <a:close/>
                <a:moveTo>
                  <a:pt x="204" y="92"/>
                </a:moveTo>
                <a:cubicBezTo>
                  <a:pt x="204" y="99"/>
                  <a:pt x="199" y="104"/>
                  <a:pt x="192" y="104"/>
                </a:cubicBezTo>
                <a:cubicBezTo>
                  <a:pt x="185" y="104"/>
                  <a:pt x="180" y="99"/>
                  <a:pt x="180" y="92"/>
                </a:cubicBezTo>
                <a:cubicBezTo>
                  <a:pt x="180" y="48"/>
                  <a:pt x="180" y="48"/>
                  <a:pt x="180" y="48"/>
                </a:cubicBezTo>
                <a:cubicBezTo>
                  <a:pt x="188" y="48"/>
                  <a:pt x="188" y="48"/>
                  <a:pt x="188" y="48"/>
                </a:cubicBezTo>
                <a:cubicBezTo>
                  <a:pt x="188" y="40"/>
                  <a:pt x="188" y="40"/>
                  <a:pt x="188" y="40"/>
                </a:cubicBezTo>
                <a:cubicBezTo>
                  <a:pt x="24" y="40"/>
                  <a:pt x="24" y="40"/>
                  <a:pt x="24" y="40"/>
                </a:cubicBezTo>
                <a:cubicBezTo>
                  <a:pt x="24" y="48"/>
                  <a:pt x="24" y="48"/>
                  <a:pt x="24" y="48"/>
                </a:cubicBezTo>
                <a:cubicBezTo>
                  <a:pt x="32" y="48"/>
                  <a:pt x="32" y="48"/>
                  <a:pt x="32" y="48"/>
                </a:cubicBezTo>
                <a:cubicBezTo>
                  <a:pt x="32" y="92"/>
                  <a:pt x="32" y="92"/>
                  <a:pt x="32" y="92"/>
                </a:cubicBezTo>
                <a:cubicBezTo>
                  <a:pt x="32" y="99"/>
                  <a:pt x="27" y="104"/>
                  <a:pt x="20" y="104"/>
                </a:cubicBezTo>
                <a:cubicBezTo>
                  <a:pt x="13" y="104"/>
                  <a:pt x="8" y="99"/>
                  <a:pt x="8" y="92"/>
                </a:cubicBezTo>
                <a:cubicBezTo>
                  <a:pt x="8" y="20"/>
                  <a:pt x="8" y="20"/>
                  <a:pt x="8" y="20"/>
                </a:cubicBezTo>
                <a:cubicBezTo>
                  <a:pt x="8" y="13"/>
                  <a:pt x="13" y="8"/>
                  <a:pt x="20" y="8"/>
                </a:cubicBezTo>
                <a:cubicBezTo>
                  <a:pt x="192" y="8"/>
                  <a:pt x="192" y="8"/>
                  <a:pt x="192" y="8"/>
                </a:cubicBezTo>
                <a:cubicBezTo>
                  <a:pt x="199" y="8"/>
                  <a:pt x="204" y="13"/>
                  <a:pt x="204" y="20"/>
                </a:cubicBezTo>
                <a:lnTo>
                  <a:pt x="204" y="92"/>
                </a:lnTo>
                <a:close/>
                <a:moveTo>
                  <a:pt x="112" y="64"/>
                </a:moveTo>
                <a:cubicBezTo>
                  <a:pt x="52" y="64"/>
                  <a:pt x="52" y="64"/>
                  <a:pt x="52" y="64"/>
                </a:cubicBezTo>
                <a:cubicBezTo>
                  <a:pt x="52" y="72"/>
                  <a:pt x="52" y="72"/>
                  <a:pt x="52" y="72"/>
                </a:cubicBezTo>
                <a:cubicBezTo>
                  <a:pt x="112" y="72"/>
                  <a:pt x="112" y="72"/>
                  <a:pt x="112" y="72"/>
                </a:cubicBezTo>
                <a:lnTo>
                  <a:pt x="112" y="64"/>
                </a:lnTo>
                <a:close/>
                <a:moveTo>
                  <a:pt x="52" y="100"/>
                </a:moveTo>
                <a:cubicBezTo>
                  <a:pt x="132" y="100"/>
                  <a:pt x="132" y="100"/>
                  <a:pt x="132" y="100"/>
                </a:cubicBezTo>
                <a:cubicBezTo>
                  <a:pt x="132" y="92"/>
                  <a:pt x="132" y="92"/>
                  <a:pt x="132" y="92"/>
                </a:cubicBezTo>
                <a:cubicBezTo>
                  <a:pt x="52" y="92"/>
                  <a:pt x="52" y="92"/>
                  <a:pt x="52" y="92"/>
                </a:cubicBezTo>
                <a:lnTo>
                  <a:pt x="52" y="100"/>
                </a:lnTo>
                <a:close/>
                <a:moveTo>
                  <a:pt x="52" y="128"/>
                </a:moveTo>
                <a:cubicBezTo>
                  <a:pt x="132" y="128"/>
                  <a:pt x="132" y="128"/>
                  <a:pt x="132" y="128"/>
                </a:cubicBezTo>
                <a:cubicBezTo>
                  <a:pt x="132" y="120"/>
                  <a:pt x="132" y="120"/>
                  <a:pt x="132" y="120"/>
                </a:cubicBezTo>
                <a:cubicBezTo>
                  <a:pt x="52" y="120"/>
                  <a:pt x="52" y="120"/>
                  <a:pt x="52" y="120"/>
                </a:cubicBezTo>
                <a:lnTo>
                  <a:pt x="52" y="12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cs typeface="等线" panose="02010600030101010101" charset="-122"/>
            </a:endParaRPr>
          </a:p>
        </p:txBody>
      </p:sp>
      <p:sp>
        <p:nvSpPr>
          <p:cNvPr id="168" name="Freeform 3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EditPoints="1"/>
          </p:cNvSpPr>
          <p:nvPr/>
        </p:nvSpPr>
        <p:spPr bwMode="auto">
          <a:xfrm>
            <a:off x="9581853" y="2026770"/>
            <a:ext cx="271463" cy="279400"/>
          </a:xfrm>
          <a:custGeom>
            <a:avLst/>
            <a:gdLst>
              <a:gd name="T0" fmla="*/ 94 w 188"/>
              <a:gd name="T1" fmla="*/ 96 h 192"/>
              <a:gd name="T2" fmla="*/ 188 w 188"/>
              <a:gd name="T3" fmla="*/ 48 h 192"/>
              <a:gd name="T4" fmla="*/ 94 w 188"/>
              <a:gd name="T5" fmla="*/ 0 h 192"/>
              <a:gd name="T6" fmla="*/ 0 w 188"/>
              <a:gd name="T7" fmla="*/ 48 h 192"/>
              <a:gd name="T8" fmla="*/ 94 w 188"/>
              <a:gd name="T9" fmla="*/ 96 h 192"/>
              <a:gd name="T10" fmla="*/ 94 w 188"/>
              <a:gd name="T11" fmla="*/ 8 h 192"/>
              <a:gd name="T12" fmla="*/ 180 w 188"/>
              <a:gd name="T13" fmla="*/ 48 h 192"/>
              <a:gd name="T14" fmla="*/ 94 w 188"/>
              <a:gd name="T15" fmla="*/ 88 h 192"/>
              <a:gd name="T16" fmla="*/ 8 w 188"/>
              <a:gd name="T17" fmla="*/ 48 h 192"/>
              <a:gd name="T18" fmla="*/ 94 w 188"/>
              <a:gd name="T19" fmla="*/ 8 h 192"/>
              <a:gd name="T20" fmla="*/ 94 w 188"/>
              <a:gd name="T21" fmla="*/ 120 h 192"/>
              <a:gd name="T22" fmla="*/ 8 w 188"/>
              <a:gd name="T23" fmla="*/ 80 h 192"/>
              <a:gd name="T24" fmla="*/ 0 w 188"/>
              <a:gd name="T25" fmla="*/ 80 h 192"/>
              <a:gd name="T26" fmla="*/ 94 w 188"/>
              <a:gd name="T27" fmla="*/ 128 h 192"/>
              <a:gd name="T28" fmla="*/ 188 w 188"/>
              <a:gd name="T29" fmla="*/ 80 h 192"/>
              <a:gd name="T30" fmla="*/ 180 w 188"/>
              <a:gd name="T31" fmla="*/ 80 h 192"/>
              <a:gd name="T32" fmla="*/ 94 w 188"/>
              <a:gd name="T33" fmla="*/ 120 h 192"/>
              <a:gd name="T34" fmla="*/ 94 w 188"/>
              <a:gd name="T35" fmla="*/ 152 h 192"/>
              <a:gd name="T36" fmla="*/ 8 w 188"/>
              <a:gd name="T37" fmla="*/ 112 h 192"/>
              <a:gd name="T38" fmla="*/ 0 w 188"/>
              <a:gd name="T39" fmla="*/ 112 h 192"/>
              <a:gd name="T40" fmla="*/ 94 w 188"/>
              <a:gd name="T41" fmla="*/ 160 h 192"/>
              <a:gd name="T42" fmla="*/ 188 w 188"/>
              <a:gd name="T43" fmla="*/ 112 h 192"/>
              <a:gd name="T44" fmla="*/ 180 w 188"/>
              <a:gd name="T45" fmla="*/ 112 h 192"/>
              <a:gd name="T46" fmla="*/ 94 w 188"/>
              <a:gd name="T47" fmla="*/ 152 h 192"/>
              <a:gd name="T48" fmla="*/ 94 w 188"/>
              <a:gd name="T49" fmla="*/ 184 h 192"/>
              <a:gd name="T50" fmla="*/ 8 w 188"/>
              <a:gd name="T51" fmla="*/ 144 h 192"/>
              <a:gd name="T52" fmla="*/ 0 w 188"/>
              <a:gd name="T53" fmla="*/ 144 h 192"/>
              <a:gd name="T54" fmla="*/ 94 w 188"/>
              <a:gd name="T55" fmla="*/ 192 h 192"/>
              <a:gd name="T56" fmla="*/ 188 w 188"/>
              <a:gd name="T57" fmla="*/ 144 h 192"/>
              <a:gd name="T58" fmla="*/ 180 w 188"/>
              <a:gd name="T59" fmla="*/ 144 h 192"/>
              <a:gd name="T60" fmla="*/ 94 w 188"/>
              <a:gd name="T61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8" h="192">
                <a:moveTo>
                  <a:pt x="94" y="96"/>
                </a:moveTo>
                <a:cubicBezTo>
                  <a:pt x="147" y="96"/>
                  <a:pt x="188" y="75"/>
                  <a:pt x="188" y="48"/>
                </a:cubicBezTo>
                <a:cubicBezTo>
                  <a:pt x="188" y="21"/>
                  <a:pt x="147" y="0"/>
                  <a:pt x="94" y="0"/>
                </a:cubicBezTo>
                <a:cubicBezTo>
                  <a:pt x="41" y="0"/>
                  <a:pt x="0" y="21"/>
                  <a:pt x="0" y="48"/>
                </a:cubicBezTo>
                <a:cubicBezTo>
                  <a:pt x="0" y="75"/>
                  <a:pt x="41" y="96"/>
                  <a:pt x="94" y="96"/>
                </a:cubicBezTo>
                <a:close/>
                <a:moveTo>
                  <a:pt x="94" y="8"/>
                </a:moveTo>
                <a:cubicBezTo>
                  <a:pt x="141" y="8"/>
                  <a:pt x="180" y="26"/>
                  <a:pt x="180" y="48"/>
                </a:cubicBezTo>
                <a:cubicBezTo>
                  <a:pt x="180" y="70"/>
                  <a:pt x="141" y="88"/>
                  <a:pt x="94" y="88"/>
                </a:cubicBezTo>
                <a:cubicBezTo>
                  <a:pt x="47" y="88"/>
                  <a:pt x="8" y="70"/>
                  <a:pt x="8" y="48"/>
                </a:cubicBezTo>
                <a:cubicBezTo>
                  <a:pt x="8" y="26"/>
                  <a:pt x="47" y="8"/>
                  <a:pt x="94" y="8"/>
                </a:cubicBezTo>
                <a:close/>
                <a:moveTo>
                  <a:pt x="94" y="120"/>
                </a:moveTo>
                <a:cubicBezTo>
                  <a:pt x="47" y="120"/>
                  <a:pt x="8" y="102"/>
                  <a:pt x="8" y="80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107"/>
                  <a:pt x="41" y="128"/>
                  <a:pt x="94" y="128"/>
                </a:cubicBezTo>
                <a:cubicBezTo>
                  <a:pt x="147" y="128"/>
                  <a:pt x="188" y="107"/>
                  <a:pt x="188" y="80"/>
                </a:cubicBezTo>
                <a:cubicBezTo>
                  <a:pt x="180" y="80"/>
                  <a:pt x="180" y="80"/>
                  <a:pt x="180" y="80"/>
                </a:cubicBezTo>
                <a:cubicBezTo>
                  <a:pt x="180" y="102"/>
                  <a:pt x="141" y="120"/>
                  <a:pt x="94" y="120"/>
                </a:cubicBezTo>
                <a:close/>
                <a:moveTo>
                  <a:pt x="94" y="152"/>
                </a:moveTo>
                <a:cubicBezTo>
                  <a:pt x="47" y="152"/>
                  <a:pt x="8" y="134"/>
                  <a:pt x="8" y="112"/>
                </a:cubicBezTo>
                <a:cubicBezTo>
                  <a:pt x="0" y="112"/>
                  <a:pt x="0" y="112"/>
                  <a:pt x="0" y="112"/>
                </a:cubicBezTo>
                <a:cubicBezTo>
                  <a:pt x="0" y="139"/>
                  <a:pt x="41" y="160"/>
                  <a:pt x="94" y="160"/>
                </a:cubicBezTo>
                <a:cubicBezTo>
                  <a:pt x="147" y="160"/>
                  <a:pt x="188" y="139"/>
                  <a:pt x="188" y="112"/>
                </a:cubicBezTo>
                <a:cubicBezTo>
                  <a:pt x="180" y="112"/>
                  <a:pt x="180" y="112"/>
                  <a:pt x="180" y="112"/>
                </a:cubicBezTo>
                <a:cubicBezTo>
                  <a:pt x="180" y="134"/>
                  <a:pt x="141" y="152"/>
                  <a:pt x="94" y="152"/>
                </a:cubicBezTo>
                <a:close/>
                <a:moveTo>
                  <a:pt x="94" y="184"/>
                </a:moveTo>
                <a:cubicBezTo>
                  <a:pt x="47" y="184"/>
                  <a:pt x="8" y="166"/>
                  <a:pt x="8" y="144"/>
                </a:cubicBezTo>
                <a:cubicBezTo>
                  <a:pt x="0" y="144"/>
                  <a:pt x="0" y="144"/>
                  <a:pt x="0" y="144"/>
                </a:cubicBezTo>
                <a:cubicBezTo>
                  <a:pt x="0" y="171"/>
                  <a:pt x="41" y="192"/>
                  <a:pt x="94" y="192"/>
                </a:cubicBezTo>
                <a:cubicBezTo>
                  <a:pt x="147" y="192"/>
                  <a:pt x="188" y="171"/>
                  <a:pt x="188" y="144"/>
                </a:cubicBezTo>
                <a:cubicBezTo>
                  <a:pt x="180" y="144"/>
                  <a:pt x="180" y="144"/>
                  <a:pt x="180" y="144"/>
                </a:cubicBezTo>
                <a:cubicBezTo>
                  <a:pt x="180" y="166"/>
                  <a:pt x="141" y="184"/>
                  <a:pt x="94" y="184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cs typeface="等线" panose="02010600030101010101" charset="-122"/>
            </a:endParaRPr>
          </a:p>
        </p:txBody>
      </p:sp>
      <p:grpSp>
        <p:nvGrpSpPr>
          <p:cNvPr id="169" name="组合 16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751766" y="366788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170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71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172" name="TextBox 15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4616345" y="1960671"/>
            <a:ext cx="1331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等线" panose="02010600030101010101" charset="-122"/>
              </a:rPr>
              <a:t>96.56</a:t>
            </a:r>
          </a:p>
        </p:txBody>
      </p:sp>
      <p:sp>
        <p:nvSpPr>
          <p:cNvPr id="173" name="TextBox 16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4513388" y="2323586"/>
            <a:ext cx="12841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cs typeface="等线" panose="02010600030101010101" charset="-122"/>
              </a:rPr>
              <a:t>Your Text Here</a:t>
            </a:r>
          </a:p>
        </p:txBody>
      </p:sp>
      <p:sp>
        <p:nvSpPr>
          <p:cNvPr id="174" name="TextBox 15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938622" y="1849301"/>
            <a:ext cx="1331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等线" panose="02010600030101010101" charset="-122"/>
              </a:rPr>
              <a:t>996</a:t>
            </a:r>
          </a:p>
        </p:txBody>
      </p:sp>
      <p:sp>
        <p:nvSpPr>
          <p:cNvPr id="175" name="TextBox 16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835665" y="2212216"/>
            <a:ext cx="12841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cs typeface="等线" panose="02010600030101010101" charset="-122"/>
              </a:rPr>
              <a:t>Your Text Here</a:t>
            </a:r>
          </a:p>
        </p:txBody>
      </p:sp>
      <p:sp>
        <p:nvSpPr>
          <p:cNvPr id="3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ythrough dir="out"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Gerader Verbinder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5" y="2766566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5" y="2981627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5" y="3232842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5" y="3484055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5" y="3735270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5" y="3986484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5" y="2549451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5" y="2318111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3" y="2098964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5" y="1664615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CxnSpPr/>
          <p:nvPr/>
        </p:nvCxnSpPr>
        <p:spPr>
          <a:xfrm flipH="1">
            <a:off x="1423963" y="1867633"/>
            <a:ext cx="7748505" cy="0"/>
          </a:xfrm>
          <a:prstGeom prst="line">
            <a:avLst/>
          </a:prstGeom>
          <a:ln>
            <a:solidFill>
              <a:schemeClr val="accent1">
                <a:alpha val="3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815665" y="4086736"/>
            <a:ext cx="627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January</a:t>
            </a:r>
          </a:p>
        </p:txBody>
      </p:sp>
      <p:sp>
        <p:nvSpPr>
          <p:cNvPr id="25" name="Textfeld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386950" y="3787495"/>
            <a:ext cx="4477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10 </a:t>
            </a:r>
          </a:p>
        </p:txBody>
      </p:sp>
      <p:sp>
        <p:nvSpPr>
          <p:cNvPr id="26" name="Textfeld 2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386949" y="3278191"/>
            <a:ext cx="3507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30 </a:t>
            </a:r>
          </a:p>
        </p:txBody>
      </p:sp>
      <p:sp>
        <p:nvSpPr>
          <p:cNvPr id="28" name="Textfeld 2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386949" y="3531823"/>
            <a:ext cx="3507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20 </a:t>
            </a:r>
          </a:p>
        </p:txBody>
      </p:sp>
      <p:sp>
        <p:nvSpPr>
          <p:cNvPr id="29" name="Textfeld 2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386949" y="3026254"/>
            <a:ext cx="3507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40 </a:t>
            </a:r>
          </a:p>
        </p:txBody>
      </p:sp>
      <p:sp>
        <p:nvSpPr>
          <p:cNvPr id="30" name="Textfeld 2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386949" y="2796714"/>
            <a:ext cx="3507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50 </a:t>
            </a:r>
          </a:p>
        </p:txBody>
      </p:sp>
      <p:sp>
        <p:nvSpPr>
          <p:cNvPr id="31" name="Textfeld 3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386949" y="2582539"/>
            <a:ext cx="3507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60</a:t>
            </a:r>
          </a:p>
        </p:txBody>
      </p:sp>
      <p:sp>
        <p:nvSpPr>
          <p:cNvPr id="32" name="Textfeld 3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386949" y="2353224"/>
            <a:ext cx="3507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70 </a:t>
            </a:r>
          </a:p>
        </p:txBody>
      </p:sp>
      <p:sp>
        <p:nvSpPr>
          <p:cNvPr id="33" name="Textfeld 3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386949" y="2120538"/>
            <a:ext cx="3507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80 </a:t>
            </a:r>
          </a:p>
        </p:txBody>
      </p:sp>
      <p:sp>
        <p:nvSpPr>
          <p:cNvPr id="34" name="Textfeld 3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386949" y="1901112"/>
            <a:ext cx="35075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90 </a:t>
            </a:r>
          </a:p>
        </p:txBody>
      </p:sp>
      <p:sp>
        <p:nvSpPr>
          <p:cNvPr id="35" name="Textfeld 3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386950" y="1682365"/>
            <a:ext cx="4477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10 0</a:t>
            </a:r>
          </a:p>
        </p:txBody>
      </p:sp>
      <p:sp>
        <p:nvSpPr>
          <p:cNvPr id="36" name="Textfeld 3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476403" y="4086737"/>
            <a:ext cx="627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February</a:t>
            </a:r>
          </a:p>
        </p:txBody>
      </p:sp>
      <p:sp>
        <p:nvSpPr>
          <p:cNvPr id="37" name="Textfeld 3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099820" y="4086736"/>
            <a:ext cx="627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March</a:t>
            </a:r>
          </a:p>
        </p:txBody>
      </p:sp>
      <p:sp>
        <p:nvSpPr>
          <p:cNvPr id="38" name="Textfeld 3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741898" y="4086736"/>
            <a:ext cx="627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April</a:t>
            </a:r>
          </a:p>
        </p:txBody>
      </p:sp>
      <p:sp>
        <p:nvSpPr>
          <p:cNvPr id="39" name="Textfeld 3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4402638" y="4086736"/>
            <a:ext cx="627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May</a:t>
            </a:r>
          </a:p>
        </p:txBody>
      </p:sp>
      <p:sp>
        <p:nvSpPr>
          <p:cNvPr id="40" name="Textfeld 3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5044716" y="4086736"/>
            <a:ext cx="627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June</a:t>
            </a:r>
          </a:p>
        </p:txBody>
      </p:sp>
      <p:sp>
        <p:nvSpPr>
          <p:cNvPr id="41" name="Textfeld 4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5686794" y="4086736"/>
            <a:ext cx="627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July</a:t>
            </a:r>
          </a:p>
        </p:txBody>
      </p:sp>
      <p:sp>
        <p:nvSpPr>
          <p:cNvPr id="42" name="Textfeld 4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328871" y="4086736"/>
            <a:ext cx="6273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August</a:t>
            </a:r>
          </a:p>
        </p:txBody>
      </p:sp>
      <p:sp>
        <p:nvSpPr>
          <p:cNvPr id="43" name="Textfeld 4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979755" y="4086737"/>
            <a:ext cx="62736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September</a:t>
            </a:r>
          </a:p>
        </p:txBody>
      </p:sp>
      <p:sp>
        <p:nvSpPr>
          <p:cNvPr id="44" name="Textfeld 4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7658630" y="4086737"/>
            <a:ext cx="5703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November</a:t>
            </a:r>
          </a:p>
        </p:txBody>
      </p:sp>
      <p:sp>
        <p:nvSpPr>
          <p:cNvPr id="45" name="Textfeld 4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8290327" y="4086737"/>
            <a:ext cx="5703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Dezember</a:t>
            </a:r>
          </a:p>
        </p:txBody>
      </p:sp>
      <p:sp>
        <p:nvSpPr>
          <p:cNvPr id="46" name="Textfeld 4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>
            <a:spLocks noChangeAspect="1"/>
          </p:cNvSpPr>
          <p:nvPr/>
        </p:nvSpPr>
        <p:spPr>
          <a:xfrm>
            <a:off x="9485479" y="2007069"/>
            <a:ext cx="215784" cy="246221"/>
          </a:xfrm>
          <a:prstGeom prst="rect">
            <a:avLst/>
          </a:prstGeom>
          <a:solidFill>
            <a:schemeClr val="accent3"/>
          </a:solidFill>
        </p:spPr>
        <p:txBody>
          <a:bodyPr wrap="square" rtlCol="0">
            <a:spAutoFit/>
          </a:bodyPr>
          <a:lstStyle/>
          <a:p>
            <a:pPr algn="ctr"/>
            <a:endParaRPr lang="de-DE" sz="10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47" name="Textfeld 4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716985" y="2020510"/>
            <a:ext cx="15591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Our Company Plan</a:t>
            </a:r>
          </a:p>
        </p:txBody>
      </p:sp>
      <p:sp>
        <p:nvSpPr>
          <p:cNvPr id="48" name="Textfeld 4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>
            <a:spLocks noChangeAspect="1"/>
          </p:cNvSpPr>
          <p:nvPr/>
        </p:nvSpPr>
        <p:spPr>
          <a:xfrm>
            <a:off x="9485479" y="2409033"/>
            <a:ext cx="215784" cy="24622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endParaRPr lang="de-DE" sz="10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49" name="Textfeld 4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716985" y="2422473"/>
            <a:ext cx="15591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Our Company Plan</a:t>
            </a:r>
          </a:p>
        </p:txBody>
      </p:sp>
      <p:sp>
        <p:nvSpPr>
          <p:cNvPr id="50" name="Textfeld 4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>
            <a:spLocks noChangeAspect="1"/>
          </p:cNvSpPr>
          <p:nvPr/>
        </p:nvSpPr>
        <p:spPr>
          <a:xfrm>
            <a:off x="9484503" y="2798022"/>
            <a:ext cx="215784" cy="24622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endParaRPr lang="de-DE" sz="10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51" name="Textfeld 5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716011" y="2811462"/>
            <a:ext cx="15591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Our Company Plan</a:t>
            </a:r>
          </a:p>
        </p:txBody>
      </p:sp>
      <p:sp>
        <p:nvSpPr>
          <p:cNvPr id="52" name="Textfeld 5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>
            <a:spLocks noChangeAspect="1"/>
          </p:cNvSpPr>
          <p:nvPr/>
        </p:nvSpPr>
        <p:spPr>
          <a:xfrm>
            <a:off x="9485479" y="3219402"/>
            <a:ext cx="215784" cy="246221"/>
          </a:xfrm>
          <a:prstGeom prst="rect">
            <a:avLst/>
          </a:prstGeom>
          <a:solidFill>
            <a:schemeClr val="tx1"/>
          </a:solidFill>
        </p:spPr>
        <p:txBody>
          <a:bodyPr wrap="square" rtlCol="0">
            <a:spAutoFit/>
          </a:bodyPr>
          <a:lstStyle/>
          <a:p>
            <a:pPr algn="ctr"/>
            <a:endParaRPr lang="de-DE" sz="1000" dirty="0">
              <a:solidFill>
                <a:schemeClr val="bg2">
                  <a:lumMod val="50000"/>
                </a:schemeClr>
              </a:solidFill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53" name="Textfeld 5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716985" y="3232842"/>
            <a:ext cx="15591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>
                <a:solidFill>
                  <a:schemeClr val="bg2">
                    <a:lumMod val="50000"/>
                  </a:schemeClr>
                </a:solidFill>
                <a:latin typeface="微软雅黑" panose="020B0503020204020204" pitchFamily="34" charset="-122"/>
                <a:cs typeface="等线" panose="02010600030101010101" charset="-122"/>
              </a:rPr>
              <a:t>Our Company Plan</a:t>
            </a:r>
          </a:p>
        </p:txBody>
      </p:sp>
      <p:graphicFrame>
        <p:nvGraphicFramePr>
          <p:cNvPr id="54" name="Chart 3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aphicFramePr/>
          <p:nvPr/>
        </p:nvGraphicFramePr>
        <p:xfrm>
          <a:off x="1815667" y="1472897"/>
          <a:ext cx="7373707" cy="25230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8" name="Freeform 12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575454" y="4641222"/>
            <a:ext cx="2082095" cy="1734777"/>
          </a:xfrm>
          <a:custGeom>
            <a:avLst/>
            <a:gdLst>
              <a:gd name="connsiteX0" fmla="*/ 1079941 w 2159882"/>
              <a:gd name="connsiteY0" fmla="*/ 0 h 1799588"/>
              <a:gd name="connsiteX1" fmla="*/ 1263390 w 2159882"/>
              <a:gd name="connsiteY1" fmla="*/ 158145 h 1799588"/>
              <a:gd name="connsiteX2" fmla="*/ 2159882 w 2159882"/>
              <a:gd name="connsiteY2" fmla="*/ 158145 h 1799588"/>
              <a:gd name="connsiteX3" fmla="*/ 2159882 w 2159882"/>
              <a:gd name="connsiteY3" fmla="*/ 1799588 h 1799588"/>
              <a:gd name="connsiteX4" fmla="*/ 0 w 2159882"/>
              <a:gd name="connsiteY4" fmla="*/ 1799588 h 1799588"/>
              <a:gd name="connsiteX5" fmla="*/ 0 w 2159882"/>
              <a:gd name="connsiteY5" fmla="*/ 158145 h 1799588"/>
              <a:gd name="connsiteX6" fmla="*/ 896492 w 2159882"/>
              <a:gd name="connsiteY6" fmla="*/ 158145 h 179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59882" h="1799588">
                <a:moveTo>
                  <a:pt x="1079941" y="0"/>
                </a:moveTo>
                <a:lnTo>
                  <a:pt x="1263390" y="158145"/>
                </a:lnTo>
                <a:lnTo>
                  <a:pt x="2159882" y="158145"/>
                </a:lnTo>
                <a:lnTo>
                  <a:pt x="2159882" y="1799588"/>
                </a:lnTo>
                <a:lnTo>
                  <a:pt x="0" y="1799588"/>
                </a:lnTo>
                <a:lnTo>
                  <a:pt x="0" y="158145"/>
                </a:lnTo>
                <a:lnTo>
                  <a:pt x="896492" y="158145"/>
                </a:lnTo>
                <a:close/>
              </a:path>
            </a:pathLst>
          </a:custGeom>
          <a:gradFill>
            <a:gsLst>
              <a:gs pos="200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750" dirty="0">
              <a:latin typeface="思源黑体 CN Regular" panose="020B0500000000000000" charset="-122"/>
              <a:cs typeface="等线" panose="02010600030101010101" charset="-122"/>
            </a:endParaRPr>
          </a:p>
        </p:txBody>
      </p:sp>
      <p:sp>
        <p:nvSpPr>
          <p:cNvPr id="59" name="Freeform 12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3658051" y="4641222"/>
            <a:ext cx="2082095" cy="1734777"/>
          </a:xfrm>
          <a:custGeom>
            <a:avLst/>
            <a:gdLst>
              <a:gd name="connsiteX0" fmla="*/ 1079941 w 2159882"/>
              <a:gd name="connsiteY0" fmla="*/ 0 h 1799588"/>
              <a:gd name="connsiteX1" fmla="*/ 1263390 w 2159882"/>
              <a:gd name="connsiteY1" fmla="*/ 158145 h 1799588"/>
              <a:gd name="connsiteX2" fmla="*/ 2159882 w 2159882"/>
              <a:gd name="connsiteY2" fmla="*/ 158145 h 1799588"/>
              <a:gd name="connsiteX3" fmla="*/ 2159882 w 2159882"/>
              <a:gd name="connsiteY3" fmla="*/ 1799588 h 1799588"/>
              <a:gd name="connsiteX4" fmla="*/ 0 w 2159882"/>
              <a:gd name="connsiteY4" fmla="*/ 1799588 h 1799588"/>
              <a:gd name="connsiteX5" fmla="*/ 0 w 2159882"/>
              <a:gd name="connsiteY5" fmla="*/ 158145 h 1799588"/>
              <a:gd name="connsiteX6" fmla="*/ 896492 w 2159882"/>
              <a:gd name="connsiteY6" fmla="*/ 158145 h 179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59882" h="1799588">
                <a:moveTo>
                  <a:pt x="1079941" y="0"/>
                </a:moveTo>
                <a:lnTo>
                  <a:pt x="1263390" y="158145"/>
                </a:lnTo>
                <a:lnTo>
                  <a:pt x="2159882" y="158145"/>
                </a:lnTo>
                <a:lnTo>
                  <a:pt x="2159882" y="1799588"/>
                </a:lnTo>
                <a:lnTo>
                  <a:pt x="0" y="1799588"/>
                </a:lnTo>
                <a:lnTo>
                  <a:pt x="0" y="158145"/>
                </a:lnTo>
                <a:lnTo>
                  <a:pt x="896492" y="158145"/>
                </a:lnTo>
                <a:close/>
              </a:path>
            </a:pathLst>
          </a:custGeom>
          <a:gradFill>
            <a:gsLst>
              <a:gs pos="200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750" dirty="0">
              <a:latin typeface="思源黑体 CN Regular" panose="020B0500000000000000" charset="-122"/>
              <a:cs typeface="等线" panose="02010600030101010101" charset="-122"/>
            </a:endParaRPr>
          </a:p>
        </p:txBody>
      </p:sp>
      <p:sp>
        <p:nvSpPr>
          <p:cNvPr id="60" name="Freeform 13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721760" y="4641222"/>
            <a:ext cx="2082095" cy="1734777"/>
          </a:xfrm>
          <a:custGeom>
            <a:avLst/>
            <a:gdLst>
              <a:gd name="connsiteX0" fmla="*/ 1079941 w 2159882"/>
              <a:gd name="connsiteY0" fmla="*/ 0 h 1799588"/>
              <a:gd name="connsiteX1" fmla="*/ 1263390 w 2159882"/>
              <a:gd name="connsiteY1" fmla="*/ 158145 h 1799588"/>
              <a:gd name="connsiteX2" fmla="*/ 2159882 w 2159882"/>
              <a:gd name="connsiteY2" fmla="*/ 158145 h 1799588"/>
              <a:gd name="connsiteX3" fmla="*/ 2159882 w 2159882"/>
              <a:gd name="connsiteY3" fmla="*/ 1799588 h 1799588"/>
              <a:gd name="connsiteX4" fmla="*/ 0 w 2159882"/>
              <a:gd name="connsiteY4" fmla="*/ 1799588 h 1799588"/>
              <a:gd name="connsiteX5" fmla="*/ 0 w 2159882"/>
              <a:gd name="connsiteY5" fmla="*/ 158145 h 1799588"/>
              <a:gd name="connsiteX6" fmla="*/ 896492 w 2159882"/>
              <a:gd name="connsiteY6" fmla="*/ 158145 h 179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59882" h="1799588">
                <a:moveTo>
                  <a:pt x="1079941" y="0"/>
                </a:moveTo>
                <a:lnTo>
                  <a:pt x="1263390" y="158145"/>
                </a:lnTo>
                <a:lnTo>
                  <a:pt x="2159882" y="158145"/>
                </a:lnTo>
                <a:lnTo>
                  <a:pt x="2159882" y="1799588"/>
                </a:lnTo>
                <a:lnTo>
                  <a:pt x="0" y="1799588"/>
                </a:lnTo>
                <a:lnTo>
                  <a:pt x="0" y="158145"/>
                </a:lnTo>
                <a:lnTo>
                  <a:pt x="896492" y="158145"/>
                </a:lnTo>
                <a:close/>
              </a:path>
            </a:pathLst>
          </a:custGeom>
          <a:gradFill>
            <a:gsLst>
              <a:gs pos="200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750" dirty="0">
              <a:latin typeface="思源黑体 CN Regular" panose="020B0500000000000000" charset="-122"/>
              <a:cs typeface="等线" panose="02010600030101010101" charset="-122"/>
            </a:endParaRPr>
          </a:p>
        </p:txBody>
      </p:sp>
      <p:sp>
        <p:nvSpPr>
          <p:cNvPr id="61" name="Freeform 13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795897" y="4641222"/>
            <a:ext cx="2082095" cy="1734777"/>
          </a:xfrm>
          <a:custGeom>
            <a:avLst/>
            <a:gdLst>
              <a:gd name="connsiteX0" fmla="*/ 1079941 w 2159882"/>
              <a:gd name="connsiteY0" fmla="*/ 0 h 1799588"/>
              <a:gd name="connsiteX1" fmla="*/ 1263390 w 2159882"/>
              <a:gd name="connsiteY1" fmla="*/ 158145 h 1799588"/>
              <a:gd name="connsiteX2" fmla="*/ 2159882 w 2159882"/>
              <a:gd name="connsiteY2" fmla="*/ 158145 h 1799588"/>
              <a:gd name="connsiteX3" fmla="*/ 2159882 w 2159882"/>
              <a:gd name="connsiteY3" fmla="*/ 1799588 h 1799588"/>
              <a:gd name="connsiteX4" fmla="*/ 0 w 2159882"/>
              <a:gd name="connsiteY4" fmla="*/ 1799588 h 1799588"/>
              <a:gd name="connsiteX5" fmla="*/ 0 w 2159882"/>
              <a:gd name="connsiteY5" fmla="*/ 158145 h 1799588"/>
              <a:gd name="connsiteX6" fmla="*/ 896492 w 2159882"/>
              <a:gd name="connsiteY6" fmla="*/ 158145 h 179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159882" h="1799588">
                <a:moveTo>
                  <a:pt x="1079941" y="0"/>
                </a:moveTo>
                <a:lnTo>
                  <a:pt x="1263390" y="158145"/>
                </a:lnTo>
                <a:lnTo>
                  <a:pt x="2159882" y="158145"/>
                </a:lnTo>
                <a:lnTo>
                  <a:pt x="2159882" y="1799588"/>
                </a:lnTo>
                <a:lnTo>
                  <a:pt x="0" y="1799588"/>
                </a:lnTo>
                <a:lnTo>
                  <a:pt x="0" y="158145"/>
                </a:lnTo>
                <a:lnTo>
                  <a:pt x="896492" y="158145"/>
                </a:lnTo>
                <a:close/>
              </a:path>
            </a:pathLst>
          </a:custGeom>
          <a:gradFill>
            <a:gsLst>
              <a:gs pos="200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750" dirty="0">
              <a:latin typeface="思源黑体 CN Regular" panose="020B0500000000000000" charset="-122"/>
              <a:cs typeface="等线" panose="02010600030101010101" charset="-122"/>
            </a:endParaRPr>
          </a:p>
        </p:txBody>
      </p:sp>
      <p:grpSp>
        <p:nvGrpSpPr>
          <p:cNvPr id="62" name="Group 3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695582" y="5374940"/>
            <a:ext cx="1841840" cy="900643"/>
            <a:chOff x="1662679" y="1724904"/>
            <a:chExt cx="2946944" cy="1441029"/>
          </a:xfrm>
        </p:grpSpPr>
        <p:sp>
          <p:nvSpPr>
            <p:cNvPr id="63" name="Rectangle 38"/>
            <p:cNvSpPr/>
            <p:nvPr/>
          </p:nvSpPr>
          <p:spPr>
            <a:xfrm flipH="1">
              <a:off x="2029153" y="1724904"/>
              <a:ext cx="2213997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5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cs typeface="等线" panose="02010600030101010101" charset="-122"/>
                </a:rPr>
                <a:t>Your Title Here</a:t>
              </a:r>
            </a:p>
          </p:txBody>
        </p:sp>
        <p:sp>
          <p:nvSpPr>
            <p:cNvPr id="64" name="Rectangle 39"/>
            <p:cNvSpPr/>
            <p:nvPr/>
          </p:nvSpPr>
          <p:spPr>
            <a:xfrm>
              <a:off x="1662679" y="2131803"/>
              <a:ext cx="2946944" cy="10341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cs typeface="等线" panose="02010600030101010101" charset="-122"/>
                </a:rPr>
                <a:t>A wonderful serenity has taken possession of my entire soul, like these</a:t>
              </a:r>
            </a:p>
          </p:txBody>
        </p:sp>
      </p:grpSp>
      <p:sp>
        <p:nvSpPr>
          <p:cNvPr id="65" name="Freeform 2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8657490" y="4954371"/>
            <a:ext cx="358908" cy="363998"/>
          </a:xfrm>
          <a:custGeom>
            <a:avLst/>
            <a:gdLst>
              <a:gd name="T0" fmla="*/ 211227 w 497"/>
              <a:gd name="T1" fmla="*/ 3596 h 505"/>
              <a:gd name="T2" fmla="*/ 211227 w 497"/>
              <a:gd name="T3" fmla="*/ 3596 h 505"/>
              <a:gd name="T4" fmla="*/ 203571 w 497"/>
              <a:gd name="T5" fmla="*/ 0 h 505"/>
              <a:gd name="T6" fmla="*/ 199518 w 497"/>
              <a:gd name="T7" fmla="*/ 7642 h 505"/>
              <a:gd name="T8" fmla="*/ 171594 w 497"/>
              <a:gd name="T9" fmla="*/ 75521 h 505"/>
              <a:gd name="T10" fmla="*/ 167541 w 497"/>
              <a:gd name="T11" fmla="*/ 63384 h 505"/>
              <a:gd name="T12" fmla="*/ 155831 w 497"/>
              <a:gd name="T13" fmla="*/ 59338 h 505"/>
              <a:gd name="T14" fmla="*/ 119350 w 497"/>
              <a:gd name="T15" fmla="*/ 59338 h 505"/>
              <a:gd name="T16" fmla="*/ 108091 w 497"/>
              <a:gd name="T17" fmla="*/ 63384 h 505"/>
              <a:gd name="T18" fmla="*/ 4053 w 497"/>
              <a:gd name="T19" fmla="*/ 134859 h 505"/>
              <a:gd name="T20" fmla="*/ 4053 w 497"/>
              <a:gd name="T21" fmla="*/ 151042 h 505"/>
              <a:gd name="T22" fmla="*/ 47740 w 497"/>
              <a:gd name="T23" fmla="*/ 218472 h 505"/>
              <a:gd name="T24" fmla="*/ 63954 w 497"/>
              <a:gd name="T25" fmla="*/ 222518 h 505"/>
              <a:gd name="T26" fmla="*/ 167541 w 497"/>
              <a:gd name="T27" fmla="*/ 146997 h 505"/>
              <a:gd name="T28" fmla="*/ 175648 w 497"/>
              <a:gd name="T29" fmla="*/ 138905 h 505"/>
              <a:gd name="T30" fmla="*/ 187357 w 497"/>
              <a:gd name="T31" fmla="*/ 102943 h 505"/>
              <a:gd name="T32" fmla="*/ 183754 w 497"/>
              <a:gd name="T33" fmla="*/ 91255 h 505"/>
              <a:gd name="T34" fmla="*/ 179701 w 497"/>
              <a:gd name="T35" fmla="*/ 83163 h 505"/>
              <a:gd name="T36" fmla="*/ 211227 w 497"/>
              <a:gd name="T37" fmla="*/ 3596 h 505"/>
              <a:gd name="T38" fmla="*/ 163487 w 497"/>
              <a:gd name="T39" fmla="*/ 111034 h 505"/>
              <a:gd name="T40" fmla="*/ 163487 w 497"/>
              <a:gd name="T41" fmla="*/ 111034 h 505"/>
              <a:gd name="T42" fmla="*/ 139617 w 497"/>
              <a:gd name="T43" fmla="*/ 102943 h 505"/>
              <a:gd name="T44" fmla="*/ 143671 w 497"/>
              <a:gd name="T45" fmla="*/ 79117 h 505"/>
              <a:gd name="T46" fmla="*/ 163487 w 497"/>
              <a:gd name="T47" fmla="*/ 79117 h 505"/>
              <a:gd name="T48" fmla="*/ 159884 w 497"/>
              <a:gd name="T49" fmla="*/ 83163 h 505"/>
              <a:gd name="T50" fmla="*/ 155831 w 497"/>
              <a:gd name="T51" fmla="*/ 91255 h 505"/>
              <a:gd name="T52" fmla="*/ 159884 w 497"/>
              <a:gd name="T53" fmla="*/ 95301 h 505"/>
              <a:gd name="T54" fmla="*/ 163487 w 497"/>
              <a:gd name="T55" fmla="*/ 95301 h 505"/>
              <a:gd name="T56" fmla="*/ 171594 w 497"/>
              <a:gd name="T57" fmla="*/ 91255 h 505"/>
              <a:gd name="T58" fmla="*/ 163487 w 497"/>
              <a:gd name="T59" fmla="*/ 111034 h 505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497" h="505">
                <a:moveTo>
                  <a:pt x="469" y="8"/>
                </a:moveTo>
                <a:lnTo>
                  <a:pt x="469" y="8"/>
                </a:lnTo>
                <a:cubicBezTo>
                  <a:pt x="469" y="8"/>
                  <a:pt x="461" y="0"/>
                  <a:pt x="452" y="0"/>
                </a:cubicBezTo>
                <a:cubicBezTo>
                  <a:pt x="443" y="8"/>
                  <a:pt x="443" y="17"/>
                  <a:pt x="443" y="17"/>
                </a:cubicBezTo>
                <a:cubicBezTo>
                  <a:pt x="461" y="88"/>
                  <a:pt x="416" y="141"/>
                  <a:pt x="381" y="168"/>
                </a:cubicBezTo>
                <a:cubicBezTo>
                  <a:pt x="372" y="141"/>
                  <a:pt x="372" y="141"/>
                  <a:pt x="372" y="141"/>
                </a:cubicBezTo>
                <a:cubicBezTo>
                  <a:pt x="363" y="141"/>
                  <a:pt x="355" y="132"/>
                  <a:pt x="346" y="132"/>
                </a:cubicBezTo>
                <a:cubicBezTo>
                  <a:pt x="265" y="132"/>
                  <a:pt x="265" y="132"/>
                  <a:pt x="265" y="132"/>
                </a:cubicBezTo>
                <a:cubicBezTo>
                  <a:pt x="257" y="132"/>
                  <a:pt x="248" y="132"/>
                  <a:pt x="240" y="141"/>
                </a:cubicBezTo>
                <a:cubicBezTo>
                  <a:pt x="9" y="300"/>
                  <a:pt x="9" y="300"/>
                  <a:pt x="9" y="300"/>
                </a:cubicBezTo>
                <a:cubicBezTo>
                  <a:pt x="0" y="309"/>
                  <a:pt x="0" y="327"/>
                  <a:pt x="9" y="336"/>
                </a:cubicBezTo>
                <a:cubicBezTo>
                  <a:pt x="106" y="486"/>
                  <a:pt x="106" y="486"/>
                  <a:pt x="106" y="486"/>
                </a:cubicBezTo>
                <a:cubicBezTo>
                  <a:pt x="115" y="504"/>
                  <a:pt x="133" y="495"/>
                  <a:pt x="142" y="495"/>
                </a:cubicBezTo>
                <a:cubicBezTo>
                  <a:pt x="372" y="327"/>
                  <a:pt x="372" y="327"/>
                  <a:pt x="372" y="327"/>
                </a:cubicBezTo>
                <a:cubicBezTo>
                  <a:pt x="381" y="327"/>
                  <a:pt x="390" y="309"/>
                  <a:pt x="390" y="309"/>
                </a:cubicBezTo>
                <a:cubicBezTo>
                  <a:pt x="416" y="229"/>
                  <a:pt x="416" y="229"/>
                  <a:pt x="416" y="229"/>
                </a:cubicBezTo>
                <a:cubicBezTo>
                  <a:pt x="416" y="221"/>
                  <a:pt x="416" y="212"/>
                  <a:pt x="408" y="203"/>
                </a:cubicBezTo>
                <a:cubicBezTo>
                  <a:pt x="399" y="185"/>
                  <a:pt x="399" y="185"/>
                  <a:pt x="399" y="185"/>
                </a:cubicBezTo>
                <a:cubicBezTo>
                  <a:pt x="452" y="150"/>
                  <a:pt x="496" y="88"/>
                  <a:pt x="469" y="8"/>
                </a:cubicBezTo>
                <a:close/>
                <a:moveTo>
                  <a:pt x="363" y="247"/>
                </a:moveTo>
                <a:lnTo>
                  <a:pt x="363" y="247"/>
                </a:lnTo>
                <a:cubicBezTo>
                  <a:pt x="346" y="256"/>
                  <a:pt x="319" y="256"/>
                  <a:pt x="310" y="229"/>
                </a:cubicBezTo>
                <a:cubicBezTo>
                  <a:pt x="293" y="212"/>
                  <a:pt x="301" y="194"/>
                  <a:pt x="319" y="176"/>
                </a:cubicBezTo>
                <a:cubicBezTo>
                  <a:pt x="328" y="168"/>
                  <a:pt x="346" y="168"/>
                  <a:pt x="363" y="176"/>
                </a:cubicBezTo>
                <a:cubicBezTo>
                  <a:pt x="355" y="185"/>
                  <a:pt x="355" y="185"/>
                  <a:pt x="355" y="185"/>
                </a:cubicBezTo>
                <a:cubicBezTo>
                  <a:pt x="346" y="185"/>
                  <a:pt x="337" y="194"/>
                  <a:pt x="346" y="203"/>
                </a:cubicBezTo>
                <a:cubicBezTo>
                  <a:pt x="346" y="212"/>
                  <a:pt x="355" y="212"/>
                  <a:pt x="355" y="212"/>
                </a:cubicBezTo>
                <a:cubicBezTo>
                  <a:pt x="363" y="212"/>
                  <a:pt x="363" y="212"/>
                  <a:pt x="363" y="212"/>
                </a:cubicBezTo>
                <a:cubicBezTo>
                  <a:pt x="372" y="212"/>
                  <a:pt x="372" y="212"/>
                  <a:pt x="381" y="203"/>
                </a:cubicBezTo>
                <a:cubicBezTo>
                  <a:pt x="381" y="221"/>
                  <a:pt x="372" y="238"/>
                  <a:pt x="363" y="2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cs typeface="等线" panose="02010600030101010101" charset="-122"/>
            </a:endParaRPr>
          </a:p>
        </p:txBody>
      </p:sp>
      <p:sp>
        <p:nvSpPr>
          <p:cNvPr id="66" name="Freeform 2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6602445" y="4970918"/>
            <a:ext cx="320725" cy="330905"/>
          </a:xfrm>
          <a:custGeom>
            <a:avLst/>
            <a:gdLst>
              <a:gd name="T0" fmla="*/ 111726 w 444"/>
              <a:gd name="T1" fmla="*/ 150538 h 462"/>
              <a:gd name="T2" fmla="*/ 111726 w 444"/>
              <a:gd name="T3" fmla="*/ 150538 h 462"/>
              <a:gd name="T4" fmla="*/ 144162 w 444"/>
              <a:gd name="T5" fmla="*/ 114802 h 462"/>
              <a:gd name="T6" fmla="*/ 199574 w 444"/>
              <a:gd name="T7" fmla="*/ 31716 h 462"/>
              <a:gd name="T8" fmla="*/ 191916 w 444"/>
              <a:gd name="T9" fmla="*/ 23675 h 462"/>
              <a:gd name="T10" fmla="*/ 155875 w 444"/>
              <a:gd name="T11" fmla="*/ 23675 h 462"/>
              <a:gd name="T12" fmla="*/ 100013 w 444"/>
              <a:gd name="T13" fmla="*/ 0 h 462"/>
              <a:gd name="T14" fmla="*/ 44150 w 444"/>
              <a:gd name="T15" fmla="*/ 23675 h 462"/>
              <a:gd name="T16" fmla="*/ 8109 w 444"/>
              <a:gd name="T17" fmla="*/ 23675 h 462"/>
              <a:gd name="T18" fmla="*/ 0 w 444"/>
              <a:gd name="T19" fmla="*/ 31716 h 462"/>
              <a:gd name="T20" fmla="*/ 55863 w 444"/>
              <a:gd name="T21" fmla="*/ 114802 h 462"/>
              <a:gd name="T22" fmla="*/ 87849 w 444"/>
              <a:gd name="T23" fmla="*/ 150538 h 462"/>
              <a:gd name="T24" fmla="*/ 87849 w 444"/>
              <a:gd name="T25" fmla="*/ 166172 h 462"/>
              <a:gd name="T26" fmla="*/ 48204 w 444"/>
              <a:gd name="T27" fmla="*/ 185827 h 462"/>
              <a:gd name="T28" fmla="*/ 100013 w 444"/>
              <a:gd name="T29" fmla="*/ 205928 h 462"/>
              <a:gd name="T30" fmla="*/ 147766 w 444"/>
              <a:gd name="T31" fmla="*/ 185827 h 462"/>
              <a:gd name="T32" fmla="*/ 111726 w 444"/>
              <a:gd name="T33" fmla="*/ 166172 h 462"/>
              <a:gd name="T34" fmla="*/ 111726 w 444"/>
              <a:gd name="T35" fmla="*/ 150538 h 462"/>
              <a:gd name="T36" fmla="*/ 144162 w 444"/>
              <a:gd name="T37" fmla="*/ 94700 h 462"/>
              <a:gd name="T38" fmla="*/ 144162 w 444"/>
              <a:gd name="T39" fmla="*/ 94700 h 462"/>
              <a:gd name="T40" fmla="*/ 155875 w 444"/>
              <a:gd name="T41" fmla="*/ 39756 h 462"/>
              <a:gd name="T42" fmla="*/ 183807 w 444"/>
              <a:gd name="T43" fmla="*/ 39756 h 462"/>
              <a:gd name="T44" fmla="*/ 144162 w 444"/>
              <a:gd name="T45" fmla="*/ 94700 h 462"/>
              <a:gd name="T46" fmla="*/ 100013 w 444"/>
              <a:gd name="T47" fmla="*/ 16081 h 462"/>
              <a:gd name="T48" fmla="*/ 100013 w 444"/>
              <a:gd name="T49" fmla="*/ 16081 h 462"/>
              <a:gd name="T50" fmla="*/ 144162 w 444"/>
              <a:gd name="T51" fmla="*/ 31716 h 462"/>
              <a:gd name="T52" fmla="*/ 100013 w 444"/>
              <a:gd name="T53" fmla="*/ 51370 h 462"/>
              <a:gd name="T54" fmla="*/ 55863 w 444"/>
              <a:gd name="T55" fmla="*/ 31716 h 462"/>
              <a:gd name="T56" fmla="*/ 100013 w 444"/>
              <a:gd name="T57" fmla="*/ 16081 h 462"/>
              <a:gd name="T58" fmla="*/ 16218 w 444"/>
              <a:gd name="T59" fmla="*/ 39756 h 462"/>
              <a:gd name="T60" fmla="*/ 16218 w 444"/>
              <a:gd name="T61" fmla="*/ 39756 h 462"/>
              <a:gd name="T62" fmla="*/ 44150 w 444"/>
              <a:gd name="T63" fmla="*/ 39756 h 462"/>
              <a:gd name="T64" fmla="*/ 55863 w 444"/>
              <a:gd name="T65" fmla="*/ 94700 h 462"/>
              <a:gd name="T66" fmla="*/ 16218 w 444"/>
              <a:gd name="T67" fmla="*/ 39756 h 46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442" h="462">
                <a:moveTo>
                  <a:pt x="248" y="337"/>
                </a:moveTo>
                <a:lnTo>
                  <a:pt x="248" y="337"/>
                </a:lnTo>
                <a:cubicBezTo>
                  <a:pt x="248" y="302"/>
                  <a:pt x="275" y="283"/>
                  <a:pt x="320" y="257"/>
                </a:cubicBezTo>
                <a:cubicBezTo>
                  <a:pt x="373" y="221"/>
                  <a:pt x="443" y="177"/>
                  <a:pt x="443" y="71"/>
                </a:cubicBezTo>
                <a:cubicBezTo>
                  <a:pt x="443" y="62"/>
                  <a:pt x="434" y="53"/>
                  <a:pt x="426" y="53"/>
                </a:cubicBezTo>
                <a:cubicBezTo>
                  <a:pt x="346" y="53"/>
                  <a:pt x="346" y="53"/>
                  <a:pt x="346" y="53"/>
                </a:cubicBezTo>
                <a:cubicBezTo>
                  <a:pt x="328" y="27"/>
                  <a:pt x="293" y="0"/>
                  <a:pt x="222" y="0"/>
                </a:cubicBezTo>
                <a:cubicBezTo>
                  <a:pt x="151" y="0"/>
                  <a:pt x="116" y="27"/>
                  <a:pt x="98" y="53"/>
                </a:cubicBezTo>
                <a:cubicBezTo>
                  <a:pt x="18" y="53"/>
                  <a:pt x="18" y="53"/>
                  <a:pt x="18" y="53"/>
                </a:cubicBezTo>
                <a:cubicBezTo>
                  <a:pt x="9" y="53"/>
                  <a:pt x="0" y="62"/>
                  <a:pt x="0" y="71"/>
                </a:cubicBezTo>
                <a:cubicBezTo>
                  <a:pt x="0" y="177"/>
                  <a:pt x="62" y="221"/>
                  <a:pt x="124" y="257"/>
                </a:cubicBezTo>
                <a:cubicBezTo>
                  <a:pt x="169" y="283"/>
                  <a:pt x="195" y="302"/>
                  <a:pt x="195" y="337"/>
                </a:cubicBezTo>
                <a:cubicBezTo>
                  <a:pt x="195" y="372"/>
                  <a:pt x="195" y="372"/>
                  <a:pt x="195" y="372"/>
                </a:cubicBezTo>
                <a:cubicBezTo>
                  <a:pt x="142" y="381"/>
                  <a:pt x="107" y="399"/>
                  <a:pt x="107" y="416"/>
                </a:cubicBezTo>
                <a:cubicBezTo>
                  <a:pt x="107" y="443"/>
                  <a:pt x="160" y="461"/>
                  <a:pt x="222" y="461"/>
                </a:cubicBezTo>
                <a:cubicBezTo>
                  <a:pt x="283" y="461"/>
                  <a:pt x="328" y="443"/>
                  <a:pt x="328" y="416"/>
                </a:cubicBezTo>
                <a:cubicBezTo>
                  <a:pt x="328" y="399"/>
                  <a:pt x="302" y="381"/>
                  <a:pt x="248" y="372"/>
                </a:cubicBezTo>
                <a:lnTo>
                  <a:pt x="248" y="337"/>
                </a:lnTo>
                <a:close/>
                <a:moveTo>
                  <a:pt x="320" y="212"/>
                </a:moveTo>
                <a:lnTo>
                  <a:pt x="320" y="212"/>
                </a:lnTo>
                <a:cubicBezTo>
                  <a:pt x="337" y="186"/>
                  <a:pt x="346" y="142"/>
                  <a:pt x="346" y="89"/>
                </a:cubicBezTo>
                <a:cubicBezTo>
                  <a:pt x="408" y="89"/>
                  <a:pt x="408" y="89"/>
                  <a:pt x="408" y="89"/>
                </a:cubicBezTo>
                <a:cubicBezTo>
                  <a:pt x="399" y="151"/>
                  <a:pt x="364" y="186"/>
                  <a:pt x="320" y="212"/>
                </a:cubicBezTo>
                <a:close/>
                <a:moveTo>
                  <a:pt x="222" y="36"/>
                </a:moveTo>
                <a:lnTo>
                  <a:pt x="222" y="36"/>
                </a:lnTo>
                <a:cubicBezTo>
                  <a:pt x="293" y="36"/>
                  <a:pt x="320" y="62"/>
                  <a:pt x="320" y="71"/>
                </a:cubicBezTo>
                <a:cubicBezTo>
                  <a:pt x="320" y="80"/>
                  <a:pt x="293" y="106"/>
                  <a:pt x="222" y="115"/>
                </a:cubicBezTo>
                <a:cubicBezTo>
                  <a:pt x="151" y="106"/>
                  <a:pt x="124" y="80"/>
                  <a:pt x="124" y="71"/>
                </a:cubicBezTo>
                <a:cubicBezTo>
                  <a:pt x="124" y="62"/>
                  <a:pt x="151" y="36"/>
                  <a:pt x="222" y="36"/>
                </a:cubicBezTo>
                <a:close/>
                <a:moveTo>
                  <a:pt x="36" y="89"/>
                </a:moveTo>
                <a:lnTo>
                  <a:pt x="36" y="89"/>
                </a:lnTo>
                <a:cubicBezTo>
                  <a:pt x="98" y="89"/>
                  <a:pt x="98" y="89"/>
                  <a:pt x="98" y="89"/>
                </a:cubicBezTo>
                <a:cubicBezTo>
                  <a:pt x="98" y="142"/>
                  <a:pt x="107" y="186"/>
                  <a:pt x="124" y="212"/>
                </a:cubicBezTo>
                <a:cubicBezTo>
                  <a:pt x="80" y="186"/>
                  <a:pt x="36" y="151"/>
                  <a:pt x="36" y="8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cs typeface="等线" panose="02010600030101010101" charset="-122"/>
            </a:endParaRPr>
          </a:p>
        </p:txBody>
      </p:sp>
      <p:sp>
        <p:nvSpPr>
          <p:cNvPr id="67" name="Freeform 6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2464689" y="4986191"/>
            <a:ext cx="302908" cy="300359"/>
          </a:xfrm>
          <a:custGeom>
            <a:avLst/>
            <a:gdLst>
              <a:gd name="T0" fmla="*/ 172604 w 417"/>
              <a:gd name="T1" fmla="*/ 91192 h 417"/>
              <a:gd name="T2" fmla="*/ 172604 w 417"/>
              <a:gd name="T3" fmla="*/ 91192 h 417"/>
              <a:gd name="T4" fmla="*/ 188460 w 417"/>
              <a:gd name="T5" fmla="*/ 63340 h 417"/>
              <a:gd name="T6" fmla="*/ 184836 w 417"/>
              <a:gd name="T7" fmla="*/ 47617 h 417"/>
              <a:gd name="T8" fmla="*/ 152671 w 417"/>
              <a:gd name="T9" fmla="*/ 35488 h 417"/>
              <a:gd name="T10" fmla="*/ 144516 w 417"/>
              <a:gd name="T11" fmla="*/ 7637 h 417"/>
              <a:gd name="T12" fmla="*/ 124583 w 417"/>
              <a:gd name="T13" fmla="*/ 0 h 417"/>
              <a:gd name="T14" fmla="*/ 96495 w 417"/>
              <a:gd name="T15" fmla="*/ 15723 h 417"/>
              <a:gd name="T16" fmla="*/ 68407 w 417"/>
              <a:gd name="T17" fmla="*/ 0 h 417"/>
              <a:gd name="T18" fmla="*/ 48474 w 417"/>
              <a:gd name="T19" fmla="*/ 7637 h 417"/>
              <a:gd name="T20" fmla="*/ 40320 w 417"/>
              <a:gd name="T21" fmla="*/ 35488 h 417"/>
              <a:gd name="T22" fmla="*/ 8155 w 417"/>
              <a:gd name="T23" fmla="*/ 47617 h 417"/>
              <a:gd name="T24" fmla="*/ 0 w 417"/>
              <a:gd name="T25" fmla="*/ 63340 h 417"/>
              <a:gd name="T26" fmla="*/ 19933 w 417"/>
              <a:gd name="T27" fmla="*/ 91192 h 417"/>
              <a:gd name="T28" fmla="*/ 0 w 417"/>
              <a:gd name="T29" fmla="*/ 123536 h 417"/>
              <a:gd name="T30" fmla="*/ 8155 w 417"/>
              <a:gd name="T31" fmla="*/ 139258 h 417"/>
              <a:gd name="T32" fmla="*/ 40320 w 417"/>
              <a:gd name="T33" fmla="*/ 147344 h 417"/>
              <a:gd name="T34" fmla="*/ 48474 w 417"/>
              <a:gd name="T35" fmla="*/ 178790 h 417"/>
              <a:gd name="T36" fmla="*/ 68407 w 417"/>
              <a:gd name="T37" fmla="*/ 186876 h 417"/>
              <a:gd name="T38" fmla="*/ 96495 w 417"/>
              <a:gd name="T39" fmla="*/ 167110 h 417"/>
              <a:gd name="T40" fmla="*/ 124583 w 417"/>
              <a:gd name="T41" fmla="*/ 186876 h 417"/>
              <a:gd name="T42" fmla="*/ 144516 w 417"/>
              <a:gd name="T43" fmla="*/ 178790 h 417"/>
              <a:gd name="T44" fmla="*/ 152671 w 417"/>
              <a:gd name="T45" fmla="*/ 147344 h 417"/>
              <a:gd name="T46" fmla="*/ 184836 w 417"/>
              <a:gd name="T47" fmla="*/ 139258 h 417"/>
              <a:gd name="T48" fmla="*/ 188460 w 417"/>
              <a:gd name="T49" fmla="*/ 119043 h 417"/>
              <a:gd name="T50" fmla="*/ 172604 w 417"/>
              <a:gd name="T51" fmla="*/ 91192 h 417"/>
              <a:gd name="T52" fmla="*/ 96495 w 417"/>
              <a:gd name="T53" fmla="*/ 131172 h 417"/>
              <a:gd name="T54" fmla="*/ 96495 w 417"/>
              <a:gd name="T55" fmla="*/ 131172 h 417"/>
              <a:gd name="T56" fmla="*/ 56629 w 417"/>
              <a:gd name="T57" fmla="*/ 91192 h 417"/>
              <a:gd name="T58" fmla="*/ 96495 w 417"/>
              <a:gd name="T59" fmla="*/ 51660 h 417"/>
              <a:gd name="T60" fmla="*/ 136362 w 417"/>
              <a:gd name="T61" fmla="*/ 91192 h 417"/>
              <a:gd name="T62" fmla="*/ 96495 w 417"/>
              <a:gd name="T63" fmla="*/ 131172 h 41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417" h="417">
                <a:moveTo>
                  <a:pt x="381" y="203"/>
                </a:moveTo>
                <a:lnTo>
                  <a:pt x="381" y="203"/>
                </a:lnTo>
                <a:cubicBezTo>
                  <a:pt x="381" y="177"/>
                  <a:pt x="399" y="159"/>
                  <a:pt x="416" y="141"/>
                </a:cubicBezTo>
                <a:cubicBezTo>
                  <a:pt x="416" y="132"/>
                  <a:pt x="408" y="115"/>
                  <a:pt x="408" y="106"/>
                </a:cubicBezTo>
                <a:cubicBezTo>
                  <a:pt x="372" y="115"/>
                  <a:pt x="354" y="97"/>
                  <a:pt x="337" y="79"/>
                </a:cubicBezTo>
                <a:cubicBezTo>
                  <a:pt x="319" y="62"/>
                  <a:pt x="310" y="44"/>
                  <a:pt x="319" y="17"/>
                </a:cubicBezTo>
                <a:cubicBezTo>
                  <a:pt x="310" y="9"/>
                  <a:pt x="293" y="0"/>
                  <a:pt x="275" y="0"/>
                </a:cubicBezTo>
                <a:cubicBezTo>
                  <a:pt x="266" y="17"/>
                  <a:pt x="240" y="35"/>
                  <a:pt x="213" y="35"/>
                </a:cubicBezTo>
                <a:cubicBezTo>
                  <a:pt x="187" y="35"/>
                  <a:pt x="160" y="17"/>
                  <a:pt x="151" y="0"/>
                </a:cubicBezTo>
                <a:cubicBezTo>
                  <a:pt x="133" y="0"/>
                  <a:pt x="116" y="9"/>
                  <a:pt x="107" y="17"/>
                </a:cubicBezTo>
                <a:cubicBezTo>
                  <a:pt x="116" y="44"/>
                  <a:pt x="107" y="62"/>
                  <a:pt x="89" y="79"/>
                </a:cubicBezTo>
                <a:cubicBezTo>
                  <a:pt x="72" y="97"/>
                  <a:pt x="44" y="115"/>
                  <a:pt x="18" y="106"/>
                </a:cubicBezTo>
                <a:cubicBezTo>
                  <a:pt x="18" y="115"/>
                  <a:pt x="9" y="132"/>
                  <a:pt x="0" y="141"/>
                </a:cubicBezTo>
                <a:cubicBezTo>
                  <a:pt x="27" y="159"/>
                  <a:pt x="44" y="177"/>
                  <a:pt x="44" y="203"/>
                </a:cubicBezTo>
                <a:cubicBezTo>
                  <a:pt x="44" y="230"/>
                  <a:pt x="27" y="256"/>
                  <a:pt x="0" y="275"/>
                </a:cubicBezTo>
                <a:cubicBezTo>
                  <a:pt x="9" y="283"/>
                  <a:pt x="18" y="301"/>
                  <a:pt x="18" y="310"/>
                </a:cubicBezTo>
                <a:cubicBezTo>
                  <a:pt x="44" y="310"/>
                  <a:pt x="72" y="310"/>
                  <a:pt x="89" y="328"/>
                </a:cubicBezTo>
                <a:cubicBezTo>
                  <a:pt x="107" y="345"/>
                  <a:pt x="116" y="372"/>
                  <a:pt x="107" y="398"/>
                </a:cubicBezTo>
                <a:cubicBezTo>
                  <a:pt x="116" y="407"/>
                  <a:pt x="133" y="407"/>
                  <a:pt x="151" y="416"/>
                </a:cubicBezTo>
                <a:cubicBezTo>
                  <a:pt x="160" y="389"/>
                  <a:pt x="187" y="372"/>
                  <a:pt x="213" y="372"/>
                </a:cubicBezTo>
                <a:cubicBezTo>
                  <a:pt x="240" y="372"/>
                  <a:pt x="266" y="389"/>
                  <a:pt x="275" y="416"/>
                </a:cubicBezTo>
                <a:cubicBezTo>
                  <a:pt x="293" y="407"/>
                  <a:pt x="310" y="407"/>
                  <a:pt x="319" y="398"/>
                </a:cubicBezTo>
                <a:cubicBezTo>
                  <a:pt x="310" y="372"/>
                  <a:pt x="319" y="345"/>
                  <a:pt x="337" y="328"/>
                </a:cubicBezTo>
                <a:cubicBezTo>
                  <a:pt x="354" y="310"/>
                  <a:pt x="372" y="301"/>
                  <a:pt x="408" y="310"/>
                </a:cubicBezTo>
                <a:cubicBezTo>
                  <a:pt x="408" y="292"/>
                  <a:pt x="416" y="283"/>
                  <a:pt x="416" y="265"/>
                </a:cubicBezTo>
                <a:cubicBezTo>
                  <a:pt x="399" y="256"/>
                  <a:pt x="381" y="230"/>
                  <a:pt x="381" y="203"/>
                </a:cubicBezTo>
                <a:close/>
                <a:moveTo>
                  <a:pt x="213" y="292"/>
                </a:moveTo>
                <a:lnTo>
                  <a:pt x="213" y="292"/>
                </a:lnTo>
                <a:cubicBezTo>
                  <a:pt x="160" y="292"/>
                  <a:pt x="125" y="256"/>
                  <a:pt x="125" y="203"/>
                </a:cubicBezTo>
                <a:cubicBezTo>
                  <a:pt x="125" y="159"/>
                  <a:pt x="160" y="115"/>
                  <a:pt x="213" y="115"/>
                </a:cubicBezTo>
                <a:cubicBezTo>
                  <a:pt x="266" y="115"/>
                  <a:pt x="301" y="159"/>
                  <a:pt x="301" y="203"/>
                </a:cubicBezTo>
                <a:cubicBezTo>
                  <a:pt x="301" y="256"/>
                  <a:pt x="266" y="292"/>
                  <a:pt x="213" y="29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cs typeface="等线" panose="02010600030101010101" charset="-122"/>
            </a:endParaRPr>
          </a:p>
        </p:txBody>
      </p:sp>
      <p:sp>
        <p:nvSpPr>
          <p:cNvPr id="68" name="Freeform 10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4520918" y="4976008"/>
            <a:ext cx="356361" cy="320725"/>
          </a:xfrm>
          <a:custGeom>
            <a:avLst/>
            <a:gdLst>
              <a:gd name="T0" fmla="*/ 35703 w 498"/>
              <a:gd name="T1" fmla="*/ 67874 h 445"/>
              <a:gd name="T2" fmla="*/ 35703 w 498"/>
              <a:gd name="T3" fmla="*/ 67874 h 445"/>
              <a:gd name="T4" fmla="*/ 63372 w 498"/>
              <a:gd name="T5" fmla="*/ 75965 h 445"/>
              <a:gd name="T6" fmla="*/ 67389 w 498"/>
              <a:gd name="T7" fmla="*/ 75965 h 445"/>
              <a:gd name="T8" fmla="*/ 87026 w 498"/>
              <a:gd name="T9" fmla="*/ 60232 h 445"/>
              <a:gd name="T10" fmla="*/ 87026 w 498"/>
              <a:gd name="T11" fmla="*/ 56187 h 445"/>
              <a:gd name="T12" fmla="*/ 79439 w 498"/>
              <a:gd name="T13" fmla="*/ 48096 h 445"/>
              <a:gd name="T14" fmla="*/ 122728 w 498"/>
              <a:gd name="T15" fmla="*/ 4495 h 445"/>
              <a:gd name="T16" fmla="*/ 87026 w 498"/>
              <a:gd name="T17" fmla="*/ 0 h 445"/>
              <a:gd name="T18" fmla="*/ 47753 w 498"/>
              <a:gd name="T19" fmla="*/ 24273 h 445"/>
              <a:gd name="T20" fmla="*/ 32133 w 498"/>
              <a:gd name="T21" fmla="*/ 36409 h 445"/>
              <a:gd name="T22" fmla="*/ 23653 w 498"/>
              <a:gd name="T23" fmla="*/ 52141 h 445"/>
              <a:gd name="T24" fmla="*/ 8033 w 498"/>
              <a:gd name="T25" fmla="*/ 56187 h 445"/>
              <a:gd name="T26" fmla="*/ 0 w 498"/>
              <a:gd name="T27" fmla="*/ 64278 h 445"/>
              <a:gd name="T28" fmla="*/ 0 w 498"/>
              <a:gd name="T29" fmla="*/ 67874 h 445"/>
              <a:gd name="T30" fmla="*/ 16066 w 498"/>
              <a:gd name="T31" fmla="*/ 84055 h 445"/>
              <a:gd name="T32" fmla="*/ 23653 w 498"/>
              <a:gd name="T33" fmla="*/ 88101 h 445"/>
              <a:gd name="T34" fmla="*/ 32133 w 498"/>
              <a:gd name="T35" fmla="*/ 80010 h 445"/>
              <a:gd name="T36" fmla="*/ 35703 w 498"/>
              <a:gd name="T37" fmla="*/ 67874 h 445"/>
              <a:gd name="T38" fmla="*/ 99075 w 498"/>
              <a:gd name="T39" fmla="*/ 71919 h 445"/>
              <a:gd name="T40" fmla="*/ 99075 w 498"/>
              <a:gd name="T41" fmla="*/ 71919 h 445"/>
              <a:gd name="T42" fmla="*/ 95059 w 498"/>
              <a:gd name="T43" fmla="*/ 71919 h 445"/>
              <a:gd name="T44" fmla="*/ 79439 w 498"/>
              <a:gd name="T45" fmla="*/ 84055 h 445"/>
              <a:gd name="T46" fmla="*/ 75422 w 498"/>
              <a:gd name="T47" fmla="*/ 91697 h 445"/>
              <a:gd name="T48" fmla="*/ 170035 w 498"/>
              <a:gd name="T49" fmla="*/ 195530 h 445"/>
              <a:gd name="T50" fmla="*/ 178068 w 498"/>
              <a:gd name="T51" fmla="*/ 195530 h 445"/>
              <a:gd name="T52" fmla="*/ 190117 w 498"/>
              <a:gd name="T53" fmla="*/ 187439 h 445"/>
              <a:gd name="T54" fmla="*/ 190117 w 498"/>
              <a:gd name="T55" fmla="*/ 179798 h 445"/>
              <a:gd name="T56" fmla="*/ 99075 w 498"/>
              <a:gd name="T57" fmla="*/ 71919 h 445"/>
              <a:gd name="T58" fmla="*/ 221804 w 498"/>
              <a:gd name="T59" fmla="*/ 28318 h 445"/>
              <a:gd name="T60" fmla="*/ 221804 w 498"/>
              <a:gd name="T61" fmla="*/ 28318 h 445"/>
              <a:gd name="T62" fmla="*/ 213771 w 498"/>
              <a:gd name="T63" fmla="*/ 24273 h 445"/>
              <a:gd name="T64" fmla="*/ 205737 w 498"/>
              <a:gd name="T65" fmla="*/ 40005 h 445"/>
              <a:gd name="T66" fmla="*/ 182084 w 498"/>
              <a:gd name="T67" fmla="*/ 48096 h 445"/>
              <a:gd name="T68" fmla="*/ 178068 w 498"/>
              <a:gd name="T69" fmla="*/ 28318 h 445"/>
              <a:gd name="T70" fmla="*/ 186101 w 498"/>
              <a:gd name="T71" fmla="*/ 8540 h 445"/>
              <a:gd name="T72" fmla="*/ 182084 w 498"/>
              <a:gd name="T73" fmla="*/ 4495 h 445"/>
              <a:gd name="T74" fmla="*/ 150398 w 498"/>
              <a:gd name="T75" fmla="*/ 32364 h 445"/>
              <a:gd name="T76" fmla="*/ 142365 w 498"/>
              <a:gd name="T77" fmla="*/ 67874 h 445"/>
              <a:gd name="T78" fmla="*/ 126745 w 498"/>
              <a:gd name="T79" fmla="*/ 84055 h 445"/>
              <a:gd name="T80" fmla="*/ 142365 w 498"/>
              <a:gd name="T81" fmla="*/ 103833 h 445"/>
              <a:gd name="T82" fmla="*/ 162448 w 498"/>
              <a:gd name="T83" fmla="*/ 84055 h 445"/>
              <a:gd name="T84" fmla="*/ 182084 w 498"/>
              <a:gd name="T85" fmla="*/ 80010 h 445"/>
              <a:gd name="T86" fmla="*/ 217787 w 498"/>
              <a:gd name="T87" fmla="*/ 64278 h 445"/>
              <a:gd name="T88" fmla="*/ 221804 w 498"/>
              <a:gd name="T89" fmla="*/ 28318 h 445"/>
              <a:gd name="T90" fmla="*/ 32133 w 498"/>
              <a:gd name="T91" fmla="*/ 179798 h 445"/>
              <a:gd name="T92" fmla="*/ 32133 w 498"/>
              <a:gd name="T93" fmla="*/ 179798 h 445"/>
              <a:gd name="T94" fmla="*/ 32133 w 498"/>
              <a:gd name="T95" fmla="*/ 187439 h 445"/>
              <a:gd name="T96" fmla="*/ 39719 w 498"/>
              <a:gd name="T97" fmla="*/ 199576 h 445"/>
              <a:gd name="T98" fmla="*/ 47753 w 498"/>
              <a:gd name="T99" fmla="*/ 195530 h 445"/>
              <a:gd name="T100" fmla="*/ 103092 w 498"/>
              <a:gd name="T101" fmla="*/ 143838 h 445"/>
              <a:gd name="T102" fmla="*/ 87026 w 498"/>
              <a:gd name="T103" fmla="*/ 123611 h 445"/>
              <a:gd name="T104" fmla="*/ 32133 w 498"/>
              <a:gd name="T105" fmla="*/ 179798 h 44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498" h="445">
                <a:moveTo>
                  <a:pt x="80" y="151"/>
                </a:moveTo>
                <a:lnTo>
                  <a:pt x="80" y="151"/>
                </a:lnTo>
                <a:cubicBezTo>
                  <a:pt x="97" y="134"/>
                  <a:pt x="116" y="143"/>
                  <a:pt x="142" y="169"/>
                </a:cubicBezTo>
                <a:cubicBezTo>
                  <a:pt x="151" y="178"/>
                  <a:pt x="151" y="169"/>
                  <a:pt x="151" y="169"/>
                </a:cubicBezTo>
                <a:cubicBezTo>
                  <a:pt x="160" y="169"/>
                  <a:pt x="186" y="134"/>
                  <a:pt x="195" y="134"/>
                </a:cubicBezTo>
                <a:cubicBezTo>
                  <a:pt x="195" y="134"/>
                  <a:pt x="195" y="134"/>
                  <a:pt x="195" y="125"/>
                </a:cubicBezTo>
                <a:cubicBezTo>
                  <a:pt x="186" y="125"/>
                  <a:pt x="178" y="116"/>
                  <a:pt x="178" y="107"/>
                </a:cubicBezTo>
                <a:cubicBezTo>
                  <a:pt x="133" y="45"/>
                  <a:pt x="301" y="10"/>
                  <a:pt x="275" y="10"/>
                </a:cubicBezTo>
                <a:cubicBezTo>
                  <a:pt x="257" y="0"/>
                  <a:pt x="204" y="0"/>
                  <a:pt x="195" y="0"/>
                </a:cubicBezTo>
                <a:cubicBezTo>
                  <a:pt x="169" y="10"/>
                  <a:pt x="125" y="36"/>
                  <a:pt x="107" y="54"/>
                </a:cubicBezTo>
                <a:cubicBezTo>
                  <a:pt x="80" y="72"/>
                  <a:pt x="72" y="81"/>
                  <a:pt x="72" y="81"/>
                </a:cubicBezTo>
                <a:cubicBezTo>
                  <a:pt x="62" y="89"/>
                  <a:pt x="72" y="107"/>
                  <a:pt x="53" y="116"/>
                </a:cubicBezTo>
                <a:cubicBezTo>
                  <a:pt x="36" y="125"/>
                  <a:pt x="27" y="116"/>
                  <a:pt x="18" y="125"/>
                </a:cubicBezTo>
                <a:cubicBezTo>
                  <a:pt x="18" y="134"/>
                  <a:pt x="9" y="134"/>
                  <a:pt x="0" y="143"/>
                </a:cubicBezTo>
                <a:lnTo>
                  <a:pt x="0" y="151"/>
                </a:lnTo>
                <a:lnTo>
                  <a:pt x="36" y="187"/>
                </a:lnTo>
                <a:cubicBezTo>
                  <a:pt x="36" y="196"/>
                  <a:pt x="44" y="196"/>
                  <a:pt x="53" y="196"/>
                </a:cubicBezTo>
                <a:cubicBezTo>
                  <a:pt x="53" y="187"/>
                  <a:pt x="62" y="178"/>
                  <a:pt x="72" y="178"/>
                </a:cubicBezTo>
                <a:cubicBezTo>
                  <a:pt x="72" y="178"/>
                  <a:pt x="72" y="151"/>
                  <a:pt x="80" y="151"/>
                </a:cubicBezTo>
                <a:close/>
                <a:moveTo>
                  <a:pt x="222" y="160"/>
                </a:moveTo>
                <a:lnTo>
                  <a:pt x="222" y="160"/>
                </a:lnTo>
                <a:cubicBezTo>
                  <a:pt x="213" y="160"/>
                  <a:pt x="213" y="160"/>
                  <a:pt x="213" y="160"/>
                </a:cubicBezTo>
                <a:cubicBezTo>
                  <a:pt x="178" y="187"/>
                  <a:pt x="178" y="187"/>
                  <a:pt x="178" y="187"/>
                </a:cubicBezTo>
                <a:cubicBezTo>
                  <a:pt x="169" y="196"/>
                  <a:pt x="169" y="196"/>
                  <a:pt x="169" y="204"/>
                </a:cubicBezTo>
                <a:cubicBezTo>
                  <a:pt x="381" y="435"/>
                  <a:pt x="381" y="435"/>
                  <a:pt x="381" y="435"/>
                </a:cubicBezTo>
                <a:cubicBezTo>
                  <a:pt x="381" y="444"/>
                  <a:pt x="391" y="444"/>
                  <a:pt x="399" y="435"/>
                </a:cubicBezTo>
                <a:cubicBezTo>
                  <a:pt x="426" y="417"/>
                  <a:pt x="426" y="417"/>
                  <a:pt x="426" y="417"/>
                </a:cubicBezTo>
                <a:cubicBezTo>
                  <a:pt x="426" y="408"/>
                  <a:pt x="426" y="400"/>
                  <a:pt x="426" y="400"/>
                </a:cubicBezTo>
                <a:lnTo>
                  <a:pt x="222" y="160"/>
                </a:lnTo>
                <a:close/>
                <a:moveTo>
                  <a:pt x="497" y="63"/>
                </a:moveTo>
                <a:lnTo>
                  <a:pt x="497" y="63"/>
                </a:lnTo>
                <a:cubicBezTo>
                  <a:pt x="488" y="45"/>
                  <a:pt x="488" y="54"/>
                  <a:pt x="479" y="54"/>
                </a:cubicBezTo>
                <a:cubicBezTo>
                  <a:pt x="479" y="63"/>
                  <a:pt x="461" y="81"/>
                  <a:pt x="461" y="89"/>
                </a:cubicBezTo>
                <a:cubicBezTo>
                  <a:pt x="452" y="107"/>
                  <a:pt x="435" y="125"/>
                  <a:pt x="408" y="107"/>
                </a:cubicBezTo>
                <a:cubicBezTo>
                  <a:pt x="381" y="81"/>
                  <a:pt x="391" y="72"/>
                  <a:pt x="399" y="63"/>
                </a:cubicBezTo>
                <a:cubicBezTo>
                  <a:pt x="399" y="54"/>
                  <a:pt x="417" y="28"/>
                  <a:pt x="417" y="19"/>
                </a:cubicBezTo>
                <a:cubicBezTo>
                  <a:pt x="426" y="19"/>
                  <a:pt x="417" y="10"/>
                  <a:pt x="408" y="10"/>
                </a:cubicBezTo>
                <a:cubicBezTo>
                  <a:pt x="399" y="19"/>
                  <a:pt x="346" y="36"/>
                  <a:pt x="337" y="72"/>
                </a:cubicBezTo>
                <a:cubicBezTo>
                  <a:pt x="328" y="98"/>
                  <a:pt x="346" y="125"/>
                  <a:pt x="319" y="151"/>
                </a:cubicBezTo>
                <a:cubicBezTo>
                  <a:pt x="284" y="187"/>
                  <a:pt x="284" y="187"/>
                  <a:pt x="284" y="187"/>
                </a:cubicBezTo>
                <a:cubicBezTo>
                  <a:pt x="319" y="231"/>
                  <a:pt x="319" y="231"/>
                  <a:pt x="319" y="231"/>
                </a:cubicBezTo>
                <a:cubicBezTo>
                  <a:pt x="364" y="187"/>
                  <a:pt x="364" y="187"/>
                  <a:pt x="364" y="187"/>
                </a:cubicBezTo>
                <a:cubicBezTo>
                  <a:pt x="372" y="178"/>
                  <a:pt x="391" y="169"/>
                  <a:pt x="408" y="178"/>
                </a:cubicBezTo>
                <a:cubicBezTo>
                  <a:pt x="452" y="187"/>
                  <a:pt x="470" y="169"/>
                  <a:pt x="488" y="143"/>
                </a:cubicBezTo>
                <a:cubicBezTo>
                  <a:pt x="497" y="116"/>
                  <a:pt x="497" y="72"/>
                  <a:pt x="497" y="63"/>
                </a:cubicBezTo>
                <a:close/>
                <a:moveTo>
                  <a:pt x="72" y="400"/>
                </a:moveTo>
                <a:lnTo>
                  <a:pt x="72" y="400"/>
                </a:lnTo>
                <a:cubicBezTo>
                  <a:pt x="62" y="408"/>
                  <a:pt x="62" y="417"/>
                  <a:pt x="72" y="417"/>
                </a:cubicBezTo>
                <a:cubicBezTo>
                  <a:pt x="89" y="444"/>
                  <a:pt x="89" y="444"/>
                  <a:pt x="89" y="444"/>
                </a:cubicBezTo>
                <a:cubicBezTo>
                  <a:pt x="97" y="444"/>
                  <a:pt x="107" y="444"/>
                  <a:pt x="107" y="435"/>
                </a:cubicBezTo>
                <a:cubicBezTo>
                  <a:pt x="231" y="320"/>
                  <a:pt x="231" y="320"/>
                  <a:pt x="231" y="320"/>
                </a:cubicBezTo>
                <a:cubicBezTo>
                  <a:pt x="195" y="275"/>
                  <a:pt x="195" y="275"/>
                  <a:pt x="195" y="275"/>
                </a:cubicBezTo>
                <a:lnTo>
                  <a:pt x="72" y="4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21431" tIns="10716" rIns="21431" bIns="10716" anchor="ctr"/>
          <a:lstStyle/>
          <a:p>
            <a:endParaRPr lang="en-US" sz="1125" dirty="0">
              <a:cs typeface="等线" panose="02010600030101010101" charset="-122"/>
            </a:endParaRPr>
          </a:p>
        </p:txBody>
      </p:sp>
      <p:grpSp>
        <p:nvGrpSpPr>
          <p:cNvPr id="69" name="Group 4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778178" y="5374940"/>
            <a:ext cx="1841840" cy="900643"/>
            <a:chOff x="1662679" y="1724904"/>
            <a:chExt cx="2946944" cy="1441029"/>
          </a:xfrm>
        </p:grpSpPr>
        <p:sp>
          <p:nvSpPr>
            <p:cNvPr id="83" name="Rectangle 45"/>
            <p:cNvSpPr/>
            <p:nvPr/>
          </p:nvSpPr>
          <p:spPr>
            <a:xfrm flipH="1">
              <a:off x="2029153" y="1724904"/>
              <a:ext cx="2213997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5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cs typeface="等线" panose="02010600030101010101" charset="-122"/>
                </a:rPr>
                <a:t>Your Title Here</a:t>
              </a:r>
            </a:p>
          </p:txBody>
        </p:sp>
        <p:sp>
          <p:nvSpPr>
            <p:cNvPr id="84" name="Rectangle 46"/>
            <p:cNvSpPr/>
            <p:nvPr/>
          </p:nvSpPr>
          <p:spPr>
            <a:xfrm>
              <a:off x="1662679" y="2131803"/>
              <a:ext cx="2946944" cy="10341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cs typeface="等线" panose="02010600030101010101" charset="-122"/>
                </a:rPr>
                <a:t>A wonderful serenity has taken possession of my entire soul, like these</a:t>
              </a:r>
            </a:p>
          </p:txBody>
        </p:sp>
      </p:grpSp>
      <p:grpSp>
        <p:nvGrpSpPr>
          <p:cNvPr id="85" name="Group 4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841887" y="5374940"/>
            <a:ext cx="1841840" cy="900643"/>
            <a:chOff x="1662679" y="1724904"/>
            <a:chExt cx="2946944" cy="1441029"/>
          </a:xfrm>
        </p:grpSpPr>
        <p:sp>
          <p:nvSpPr>
            <p:cNvPr id="86" name="Rectangle 48"/>
            <p:cNvSpPr/>
            <p:nvPr/>
          </p:nvSpPr>
          <p:spPr>
            <a:xfrm flipH="1">
              <a:off x="2029153" y="1724904"/>
              <a:ext cx="2213997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5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cs typeface="等线" panose="02010600030101010101" charset="-122"/>
                </a:rPr>
                <a:t>Your Title Here</a:t>
              </a:r>
            </a:p>
          </p:txBody>
        </p:sp>
        <p:sp>
          <p:nvSpPr>
            <p:cNvPr id="87" name="Rectangle 49"/>
            <p:cNvSpPr/>
            <p:nvPr/>
          </p:nvSpPr>
          <p:spPr>
            <a:xfrm>
              <a:off x="1662679" y="2131803"/>
              <a:ext cx="2946944" cy="10341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cs typeface="等线" panose="02010600030101010101" charset="-122"/>
                </a:rPr>
                <a:t>A wonderful serenity has taken possession of my entire soul, like these</a:t>
              </a:r>
            </a:p>
          </p:txBody>
        </p:sp>
      </p:grpSp>
      <p:grpSp>
        <p:nvGrpSpPr>
          <p:cNvPr id="88" name="Group 5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916024" y="5374940"/>
            <a:ext cx="1841840" cy="900643"/>
            <a:chOff x="1662679" y="1724904"/>
            <a:chExt cx="2946944" cy="1441029"/>
          </a:xfrm>
        </p:grpSpPr>
        <p:sp>
          <p:nvSpPr>
            <p:cNvPr id="89" name="Rectangle 51"/>
            <p:cNvSpPr/>
            <p:nvPr/>
          </p:nvSpPr>
          <p:spPr>
            <a:xfrm flipH="1">
              <a:off x="2029153" y="1724904"/>
              <a:ext cx="2213997" cy="4555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25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cs typeface="等线" panose="02010600030101010101" charset="-122"/>
                </a:rPr>
                <a:t>Your Title Here</a:t>
              </a:r>
            </a:p>
          </p:txBody>
        </p:sp>
        <p:sp>
          <p:nvSpPr>
            <p:cNvPr id="90" name="Rectangle 52"/>
            <p:cNvSpPr/>
            <p:nvPr/>
          </p:nvSpPr>
          <p:spPr>
            <a:xfrm>
              <a:off x="1662679" y="2131803"/>
              <a:ext cx="2946944" cy="10341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sz="1000" dirty="0">
                  <a:solidFill>
                    <a:schemeClr val="bg1">
                      <a:lumMod val="95000"/>
                    </a:schemeClr>
                  </a:solidFill>
                  <a:latin typeface="微软雅黑" panose="020B0503020204020204" pitchFamily="34" charset="-122"/>
                  <a:cs typeface="等线" panose="02010600030101010101" charset="-122"/>
                </a:rPr>
                <a:t>A wonderful serenity has taken possession of my entire soul, like these</a:t>
              </a:r>
            </a:p>
          </p:txBody>
        </p:sp>
      </p:grpSp>
      <p:sp>
        <p:nvSpPr>
          <p:cNvPr id="91" name="Text Placeholder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495349" y="708574"/>
            <a:ext cx="5201301" cy="629691"/>
          </a:xfrm>
          <a:prstGeom prst="rect">
            <a:avLst/>
          </a:prstGeom>
        </p:spPr>
        <p:txBody>
          <a:bodyPr/>
          <a:lstStyle>
            <a:lvl1pPr marL="0" indent="0" algn="ctr" defTabSz="1460500" rtl="0" eaLnBrk="1" latinLnBrk="0" hangingPunct="1">
              <a:lnSpc>
                <a:spcPct val="90000"/>
              </a:lnSpc>
              <a:spcBef>
                <a:spcPts val="1600"/>
              </a:spcBef>
              <a:buFont typeface="Arial" panose="020B0604020202020204" pitchFamily="34" charset="0"/>
              <a:buNone/>
              <a:defRPr sz="4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095375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38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626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319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55651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28676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1701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747260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78145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208395" indent="-365125" algn="l" defTabSz="14605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28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600" dirty="0">
                <a:solidFill>
                  <a:schemeClr val="tx1"/>
                </a:solidFill>
                <a:latin typeface="+mj-ea"/>
                <a:ea typeface="+mj-ea"/>
                <a:cs typeface="等线" panose="02010600030101010101" charset="-122"/>
              </a:rPr>
              <a:t>Infographic Slide</a:t>
            </a:r>
            <a:endParaRPr lang="id-ID" sz="3600" dirty="0">
              <a:solidFill>
                <a:schemeClr val="tx1"/>
              </a:solidFill>
              <a:latin typeface="+mj-ea"/>
              <a:ea typeface="+mj-ea"/>
              <a:cs typeface="等线" panose="02010600030101010101" charset="-122"/>
            </a:endParaRPr>
          </a:p>
        </p:txBody>
      </p:sp>
      <p:grpSp>
        <p:nvGrpSpPr>
          <p:cNvPr id="92" name="组合 9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751766" y="1369111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93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94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95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1"/>
            </p:custDataLst>
          </p:nvPr>
        </p:nvSpPr>
        <p:spPr>
          <a:xfrm>
            <a:off x="3840480" y="357734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 spd="slow">
    <p:push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6" name="文本框 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338668"/>
            <a:ext cx="9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cs typeface="等线" panose="02010600030101010101" charset="-122"/>
              </a:rPr>
              <a:t>WATER</a:t>
            </a:r>
          </a:p>
        </p:txBody>
      </p:sp>
      <p:sp>
        <p:nvSpPr>
          <p:cNvPr id="7" name="TextBox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886577"/>
            <a:ext cx="23027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BUSINESS PRESENTATION TEMPLATE</a:t>
            </a:r>
          </a:p>
        </p:txBody>
      </p:sp>
      <p:grpSp>
        <p:nvGrpSpPr>
          <p:cNvPr id="8" name="组合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390781" y="419542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9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0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11" name="图文框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688122" y="1811216"/>
            <a:ext cx="4114801" cy="4079630"/>
          </a:xfrm>
          <a:prstGeom prst="frame">
            <a:avLst>
              <a:gd name="adj1" fmla="val 371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  <a:cs typeface="等线" panose="02010600030101010101" charset="-122"/>
            </a:endParaRPr>
          </a:p>
        </p:txBody>
      </p:sp>
      <p:sp>
        <p:nvSpPr>
          <p:cNvPr id="12" name="文本框 1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158561" y="2195771"/>
            <a:ext cx="32575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800" dirty="0">
                <a:solidFill>
                  <a:schemeClr val="bg1"/>
                </a:solidFill>
                <a:cs typeface="等线" panose="02010600030101010101" charset="-122"/>
              </a:rPr>
              <a:t>PART</a:t>
            </a:r>
            <a:endParaRPr lang="zh-CN" altLang="en-US" sz="88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13" name="文本框 1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152700" y="3217985"/>
            <a:ext cx="345679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800" dirty="0">
                <a:solidFill>
                  <a:schemeClr val="bg1"/>
                </a:solidFill>
                <a:cs typeface="等线" panose="02010600030101010101" charset="-122"/>
              </a:rPr>
              <a:t>FOUR</a:t>
            </a:r>
          </a:p>
          <a:p>
            <a:endParaRPr lang="zh-CN" altLang="en-US" sz="88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pic>
        <p:nvPicPr>
          <p:cNvPr id="4" name="图片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4" cstate="screen">
            <a:duotone>
              <a:prstClr val="black"/>
              <a:schemeClr val="bg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951254"/>
            <a:ext cx="12192000" cy="8139125"/>
          </a:xfrm>
          <a:prstGeom prst="rect">
            <a:avLst/>
          </a:prstGeom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1719555" y="4697213"/>
            <a:ext cx="4122764" cy="1388627"/>
          </a:xfrm>
          <a:custGeom>
            <a:avLst/>
            <a:gdLst>
              <a:gd name="T0" fmla="*/ 1649 w 1696"/>
              <a:gd name="T1" fmla="*/ 0 h 571"/>
              <a:gd name="T2" fmla="*/ 1696 w 1696"/>
              <a:gd name="T3" fmla="*/ 47 h 571"/>
              <a:gd name="T4" fmla="*/ 1696 w 1696"/>
              <a:gd name="T5" fmla="*/ 525 h 571"/>
              <a:gd name="T6" fmla="*/ 1649 w 1696"/>
              <a:gd name="T7" fmla="*/ 571 h 571"/>
              <a:gd name="T8" fmla="*/ 46 w 1696"/>
              <a:gd name="T9" fmla="*/ 571 h 571"/>
              <a:gd name="T10" fmla="*/ 0 w 1696"/>
              <a:gd name="T11" fmla="*/ 525 h 571"/>
              <a:gd name="T12" fmla="*/ 0 w 1696"/>
              <a:gd name="T13" fmla="*/ 47 h 571"/>
              <a:gd name="T14" fmla="*/ 46 w 1696"/>
              <a:gd name="T15" fmla="*/ 0 h 571"/>
              <a:gd name="T16" fmla="*/ 1649 w 1696"/>
              <a:gd name="T17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5" h="571">
                <a:moveTo>
                  <a:pt x="1649" y="0"/>
                </a:moveTo>
                <a:cubicBezTo>
                  <a:pt x="1675" y="0"/>
                  <a:pt x="1696" y="21"/>
                  <a:pt x="1696" y="47"/>
                </a:cubicBezTo>
                <a:cubicBezTo>
                  <a:pt x="1696" y="525"/>
                  <a:pt x="1696" y="525"/>
                  <a:pt x="1696" y="525"/>
                </a:cubicBezTo>
                <a:cubicBezTo>
                  <a:pt x="1696" y="550"/>
                  <a:pt x="1675" y="571"/>
                  <a:pt x="1649" y="571"/>
                </a:cubicBezTo>
                <a:cubicBezTo>
                  <a:pt x="46" y="571"/>
                  <a:pt x="46" y="571"/>
                  <a:pt x="46" y="571"/>
                </a:cubicBezTo>
                <a:cubicBezTo>
                  <a:pt x="21" y="571"/>
                  <a:pt x="0" y="550"/>
                  <a:pt x="0" y="525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21"/>
                  <a:pt x="21" y="0"/>
                  <a:pt x="46" y="0"/>
                </a:cubicBezTo>
                <a:lnTo>
                  <a:pt x="1649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7" name="Freeform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363639" y="4697213"/>
            <a:ext cx="1567036" cy="1388627"/>
          </a:xfrm>
          <a:custGeom>
            <a:avLst/>
            <a:gdLst>
              <a:gd name="T0" fmla="*/ 0 w 645"/>
              <a:gd name="T1" fmla="*/ 47 h 571"/>
              <a:gd name="T2" fmla="*/ 0 w 645"/>
              <a:gd name="T3" fmla="*/ 525 h 571"/>
              <a:gd name="T4" fmla="*/ 47 w 645"/>
              <a:gd name="T5" fmla="*/ 571 h 571"/>
              <a:gd name="T6" fmla="*/ 482 w 645"/>
              <a:gd name="T7" fmla="*/ 571 h 571"/>
              <a:gd name="T8" fmla="*/ 529 w 645"/>
              <a:gd name="T9" fmla="*/ 525 h 571"/>
              <a:gd name="T10" fmla="*/ 529 w 645"/>
              <a:gd name="T11" fmla="*/ 433 h 571"/>
              <a:gd name="T12" fmla="*/ 645 w 645"/>
              <a:gd name="T13" fmla="*/ 281 h 571"/>
              <a:gd name="T14" fmla="*/ 529 w 645"/>
              <a:gd name="T15" fmla="*/ 128 h 571"/>
              <a:gd name="T16" fmla="*/ 529 w 645"/>
              <a:gd name="T17" fmla="*/ 47 h 571"/>
              <a:gd name="T18" fmla="*/ 482 w 645"/>
              <a:gd name="T19" fmla="*/ 0 h 571"/>
              <a:gd name="T20" fmla="*/ 47 w 645"/>
              <a:gd name="T21" fmla="*/ 0 h 571"/>
              <a:gd name="T22" fmla="*/ 0 w 645"/>
              <a:gd name="T23" fmla="*/ 47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571">
                <a:moveTo>
                  <a:pt x="0" y="47"/>
                </a:moveTo>
                <a:cubicBezTo>
                  <a:pt x="0" y="525"/>
                  <a:pt x="0" y="525"/>
                  <a:pt x="0" y="525"/>
                </a:cubicBezTo>
                <a:cubicBezTo>
                  <a:pt x="0" y="550"/>
                  <a:pt x="21" y="571"/>
                  <a:pt x="47" y="571"/>
                </a:cubicBezTo>
                <a:cubicBezTo>
                  <a:pt x="482" y="571"/>
                  <a:pt x="482" y="571"/>
                  <a:pt x="482" y="571"/>
                </a:cubicBezTo>
                <a:cubicBezTo>
                  <a:pt x="508" y="571"/>
                  <a:pt x="529" y="550"/>
                  <a:pt x="529" y="525"/>
                </a:cubicBezTo>
                <a:cubicBezTo>
                  <a:pt x="529" y="433"/>
                  <a:pt x="529" y="433"/>
                  <a:pt x="529" y="433"/>
                </a:cubicBezTo>
                <a:cubicBezTo>
                  <a:pt x="645" y="281"/>
                  <a:pt x="645" y="281"/>
                  <a:pt x="645" y="281"/>
                </a:cubicBezTo>
                <a:cubicBezTo>
                  <a:pt x="529" y="128"/>
                  <a:pt x="529" y="128"/>
                  <a:pt x="529" y="128"/>
                </a:cubicBezTo>
                <a:cubicBezTo>
                  <a:pt x="529" y="47"/>
                  <a:pt x="529" y="47"/>
                  <a:pt x="529" y="47"/>
                </a:cubicBezTo>
                <a:cubicBezTo>
                  <a:pt x="529" y="21"/>
                  <a:pt x="508" y="0"/>
                  <a:pt x="482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21" y="0"/>
                  <a:pt x="0" y="21"/>
                  <a:pt x="0" y="47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8" name="Freeform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1719555" y="3093220"/>
            <a:ext cx="4122764" cy="1390115"/>
          </a:xfrm>
          <a:custGeom>
            <a:avLst/>
            <a:gdLst>
              <a:gd name="T0" fmla="*/ 1649 w 1696"/>
              <a:gd name="T1" fmla="*/ 0 h 572"/>
              <a:gd name="T2" fmla="*/ 1696 w 1696"/>
              <a:gd name="T3" fmla="*/ 47 h 572"/>
              <a:gd name="T4" fmla="*/ 1696 w 1696"/>
              <a:gd name="T5" fmla="*/ 525 h 572"/>
              <a:gd name="T6" fmla="*/ 1649 w 1696"/>
              <a:gd name="T7" fmla="*/ 572 h 572"/>
              <a:gd name="T8" fmla="*/ 46 w 1696"/>
              <a:gd name="T9" fmla="*/ 572 h 572"/>
              <a:gd name="T10" fmla="*/ 0 w 1696"/>
              <a:gd name="T11" fmla="*/ 525 h 572"/>
              <a:gd name="T12" fmla="*/ 0 w 1696"/>
              <a:gd name="T13" fmla="*/ 47 h 572"/>
              <a:gd name="T14" fmla="*/ 46 w 1696"/>
              <a:gd name="T15" fmla="*/ 0 h 572"/>
              <a:gd name="T16" fmla="*/ 1649 w 1696"/>
              <a:gd name="T17" fmla="*/ 0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5" h="572">
                <a:moveTo>
                  <a:pt x="1649" y="0"/>
                </a:moveTo>
                <a:cubicBezTo>
                  <a:pt x="1675" y="0"/>
                  <a:pt x="1696" y="21"/>
                  <a:pt x="1696" y="47"/>
                </a:cubicBezTo>
                <a:cubicBezTo>
                  <a:pt x="1696" y="525"/>
                  <a:pt x="1696" y="525"/>
                  <a:pt x="1696" y="525"/>
                </a:cubicBezTo>
                <a:cubicBezTo>
                  <a:pt x="1696" y="551"/>
                  <a:pt x="1675" y="572"/>
                  <a:pt x="1649" y="572"/>
                </a:cubicBezTo>
                <a:cubicBezTo>
                  <a:pt x="46" y="572"/>
                  <a:pt x="46" y="572"/>
                  <a:pt x="46" y="572"/>
                </a:cubicBezTo>
                <a:cubicBezTo>
                  <a:pt x="21" y="572"/>
                  <a:pt x="0" y="551"/>
                  <a:pt x="0" y="525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21"/>
                  <a:pt x="21" y="0"/>
                  <a:pt x="46" y="0"/>
                </a:cubicBezTo>
                <a:lnTo>
                  <a:pt x="164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9" name="Freeform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363639" y="3093220"/>
            <a:ext cx="1567036" cy="1390115"/>
          </a:xfrm>
          <a:custGeom>
            <a:avLst/>
            <a:gdLst>
              <a:gd name="T0" fmla="*/ 0 w 645"/>
              <a:gd name="T1" fmla="*/ 47 h 572"/>
              <a:gd name="T2" fmla="*/ 0 w 645"/>
              <a:gd name="T3" fmla="*/ 525 h 572"/>
              <a:gd name="T4" fmla="*/ 47 w 645"/>
              <a:gd name="T5" fmla="*/ 572 h 572"/>
              <a:gd name="T6" fmla="*/ 482 w 645"/>
              <a:gd name="T7" fmla="*/ 572 h 572"/>
              <a:gd name="T8" fmla="*/ 529 w 645"/>
              <a:gd name="T9" fmla="*/ 525 h 572"/>
              <a:gd name="T10" fmla="*/ 529 w 645"/>
              <a:gd name="T11" fmla="*/ 433 h 572"/>
              <a:gd name="T12" fmla="*/ 645 w 645"/>
              <a:gd name="T13" fmla="*/ 281 h 572"/>
              <a:gd name="T14" fmla="*/ 529 w 645"/>
              <a:gd name="T15" fmla="*/ 128 h 572"/>
              <a:gd name="T16" fmla="*/ 529 w 645"/>
              <a:gd name="T17" fmla="*/ 47 h 572"/>
              <a:gd name="T18" fmla="*/ 482 w 645"/>
              <a:gd name="T19" fmla="*/ 0 h 572"/>
              <a:gd name="T20" fmla="*/ 47 w 645"/>
              <a:gd name="T21" fmla="*/ 0 h 572"/>
              <a:gd name="T22" fmla="*/ 0 w 645"/>
              <a:gd name="T23" fmla="*/ 47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572">
                <a:moveTo>
                  <a:pt x="0" y="47"/>
                </a:moveTo>
                <a:cubicBezTo>
                  <a:pt x="0" y="525"/>
                  <a:pt x="0" y="525"/>
                  <a:pt x="0" y="525"/>
                </a:cubicBezTo>
                <a:cubicBezTo>
                  <a:pt x="0" y="551"/>
                  <a:pt x="21" y="572"/>
                  <a:pt x="47" y="572"/>
                </a:cubicBezTo>
                <a:cubicBezTo>
                  <a:pt x="482" y="572"/>
                  <a:pt x="482" y="572"/>
                  <a:pt x="482" y="572"/>
                </a:cubicBezTo>
                <a:cubicBezTo>
                  <a:pt x="508" y="572"/>
                  <a:pt x="529" y="551"/>
                  <a:pt x="529" y="525"/>
                </a:cubicBezTo>
                <a:cubicBezTo>
                  <a:pt x="529" y="433"/>
                  <a:pt x="529" y="433"/>
                  <a:pt x="529" y="433"/>
                </a:cubicBezTo>
                <a:cubicBezTo>
                  <a:pt x="645" y="281"/>
                  <a:pt x="645" y="281"/>
                  <a:pt x="645" y="281"/>
                </a:cubicBezTo>
                <a:cubicBezTo>
                  <a:pt x="529" y="128"/>
                  <a:pt x="529" y="128"/>
                  <a:pt x="529" y="128"/>
                </a:cubicBezTo>
                <a:cubicBezTo>
                  <a:pt x="529" y="47"/>
                  <a:pt x="529" y="47"/>
                  <a:pt x="529" y="47"/>
                </a:cubicBezTo>
                <a:cubicBezTo>
                  <a:pt x="529" y="21"/>
                  <a:pt x="508" y="0"/>
                  <a:pt x="482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21" y="0"/>
                  <a:pt x="0" y="21"/>
                  <a:pt x="0" y="47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10" name="Freeform 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1719555" y="1492201"/>
            <a:ext cx="4122764" cy="1387140"/>
          </a:xfrm>
          <a:custGeom>
            <a:avLst/>
            <a:gdLst>
              <a:gd name="T0" fmla="*/ 1649 w 1696"/>
              <a:gd name="T1" fmla="*/ 0 h 571"/>
              <a:gd name="T2" fmla="*/ 1696 w 1696"/>
              <a:gd name="T3" fmla="*/ 46 h 571"/>
              <a:gd name="T4" fmla="*/ 1696 w 1696"/>
              <a:gd name="T5" fmla="*/ 524 h 571"/>
              <a:gd name="T6" fmla="*/ 1649 w 1696"/>
              <a:gd name="T7" fmla="*/ 571 h 571"/>
              <a:gd name="T8" fmla="*/ 46 w 1696"/>
              <a:gd name="T9" fmla="*/ 571 h 571"/>
              <a:gd name="T10" fmla="*/ 0 w 1696"/>
              <a:gd name="T11" fmla="*/ 524 h 571"/>
              <a:gd name="T12" fmla="*/ 0 w 1696"/>
              <a:gd name="T13" fmla="*/ 46 h 571"/>
              <a:gd name="T14" fmla="*/ 46 w 1696"/>
              <a:gd name="T15" fmla="*/ 0 h 571"/>
              <a:gd name="T16" fmla="*/ 1649 w 1696"/>
              <a:gd name="T17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5" h="571">
                <a:moveTo>
                  <a:pt x="1649" y="0"/>
                </a:moveTo>
                <a:cubicBezTo>
                  <a:pt x="1675" y="0"/>
                  <a:pt x="1696" y="21"/>
                  <a:pt x="1696" y="46"/>
                </a:cubicBezTo>
                <a:cubicBezTo>
                  <a:pt x="1696" y="524"/>
                  <a:pt x="1696" y="524"/>
                  <a:pt x="1696" y="524"/>
                </a:cubicBezTo>
                <a:cubicBezTo>
                  <a:pt x="1696" y="550"/>
                  <a:pt x="1675" y="571"/>
                  <a:pt x="1649" y="571"/>
                </a:cubicBezTo>
                <a:cubicBezTo>
                  <a:pt x="46" y="571"/>
                  <a:pt x="46" y="571"/>
                  <a:pt x="46" y="571"/>
                </a:cubicBezTo>
                <a:cubicBezTo>
                  <a:pt x="21" y="571"/>
                  <a:pt x="0" y="550"/>
                  <a:pt x="0" y="524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21"/>
                  <a:pt x="21" y="0"/>
                  <a:pt x="46" y="0"/>
                </a:cubicBezTo>
                <a:lnTo>
                  <a:pt x="164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11" name="Freeform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363639" y="1492201"/>
            <a:ext cx="1567036" cy="1387140"/>
          </a:xfrm>
          <a:custGeom>
            <a:avLst/>
            <a:gdLst>
              <a:gd name="T0" fmla="*/ 0 w 645"/>
              <a:gd name="T1" fmla="*/ 46 h 571"/>
              <a:gd name="T2" fmla="*/ 0 w 645"/>
              <a:gd name="T3" fmla="*/ 524 h 571"/>
              <a:gd name="T4" fmla="*/ 47 w 645"/>
              <a:gd name="T5" fmla="*/ 571 h 571"/>
              <a:gd name="T6" fmla="*/ 482 w 645"/>
              <a:gd name="T7" fmla="*/ 571 h 571"/>
              <a:gd name="T8" fmla="*/ 529 w 645"/>
              <a:gd name="T9" fmla="*/ 524 h 571"/>
              <a:gd name="T10" fmla="*/ 529 w 645"/>
              <a:gd name="T11" fmla="*/ 432 h 571"/>
              <a:gd name="T12" fmla="*/ 645 w 645"/>
              <a:gd name="T13" fmla="*/ 280 h 571"/>
              <a:gd name="T14" fmla="*/ 529 w 645"/>
              <a:gd name="T15" fmla="*/ 128 h 571"/>
              <a:gd name="T16" fmla="*/ 529 w 645"/>
              <a:gd name="T17" fmla="*/ 46 h 571"/>
              <a:gd name="T18" fmla="*/ 482 w 645"/>
              <a:gd name="T19" fmla="*/ 0 h 571"/>
              <a:gd name="T20" fmla="*/ 47 w 645"/>
              <a:gd name="T21" fmla="*/ 0 h 571"/>
              <a:gd name="T22" fmla="*/ 0 w 645"/>
              <a:gd name="T23" fmla="*/ 46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571">
                <a:moveTo>
                  <a:pt x="0" y="46"/>
                </a:moveTo>
                <a:cubicBezTo>
                  <a:pt x="0" y="524"/>
                  <a:pt x="0" y="524"/>
                  <a:pt x="0" y="524"/>
                </a:cubicBezTo>
                <a:cubicBezTo>
                  <a:pt x="0" y="550"/>
                  <a:pt x="21" y="571"/>
                  <a:pt x="47" y="571"/>
                </a:cubicBezTo>
                <a:cubicBezTo>
                  <a:pt x="482" y="571"/>
                  <a:pt x="482" y="571"/>
                  <a:pt x="482" y="571"/>
                </a:cubicBezTo>
                <a:cubicBezTo>
                  <a:pt x="508" y="571"/>
                  <a:pt x="529" y="550"/>
                  <a:pt x="529" y="524"/>
                </a:cubicBezTo>
                <a:cubicBezTo>
                  <a:pt x="529" y="432"/>
                  <a:pt x="529" y="432"/>
                  <a:pt x="529" y="432"/>
                </a:cubicBezTo>
                <a:cubicBezTo>
                  <a:pt x="645" y="280"/>
                  <a:pt x="645" y="280"/>
                  <a:pt x="645" y="280"/>
                </a:cubicBezTo>
                <a:cubicBezTo>
                  <a:pt x="529" y="128"/>
                  <a:pt x="529" y="128"/>
                  <a:pt x="529" y="128"/>
                </a:cubicBezTo>
                <a:cubicBezTo>
                  <a:pt x="529" y="46"/>
                  <a:pt x="529" y="46"/>
                  <a:pt x="529" y="46"/>
                </a:cubicBezTo>
                <a:cubicBezTo>
                  <a:pt x="529" y="21"/>
                  <a:pt x="508" y="0"/>
                  <a:pt x="482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21" y="0"/>
                  <a:pt x="0" y="21"/>
                  <a:pt x="0" y="46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14" name="Freeform 1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7369370" y="4696469"/>
            <a:ext cx="4122764" cy="1388627"/>
          </a:xfrm>
          <a:custGeom>
            <a:avLst/>
            <a:gdLst>
              <a:gd name="T0" fmla="*/ 1649 w 1696"/>
              <a:gd name="T1" fmla="*/ 0 h 571"/>
              <a:gd name="T2" fmla="*/ 1696 w 1696"/>
              <a:gd name="T3" fmla="*/ 47 h 571"/>
              <a:gd name="T4" fmla="*/ 1696 w 1696"/>
              <a:gd name="T5" fmla="*/ 525 h 571"/>
              <a:gd name="T6" fmla="*/ 1649 w 1696"/>
              <a:gd name="T7" fmla="*/ 571 h 571"/>
              <a:gd name="T8" fmla="*/ 46 w 1696"/>
              <a:gd name="T9" fmla="*/ 571 h 571"/>
              <a:gd name="T10" fmla="*/ 0 w 1696"/>
              <a:gd name="T11" fmla="*/ 525 h 571"/>
              <a:gd name="T12" fmla="*/ 0 w 1696"/>
              <a:gd name="T13" fmla="*/ 47 h 571"/>
              <a:gd name="T14" fmla="*/ 46 w 1696"/>
              <a:gd name="T15" fmla="*/ 0 h 571"/>
              <a:gd name="T16" fmla="*/ 1649 w 1696"/>
              <a:gd name="T17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5" h="571">
                <a:moveTo>
                  <a:pt x="1649" y="0"/>
                </a:moveTo>
                <a:cubicBezTo>
                  <a:pt x="1675" y="0"/>
                  <a:pt x="1696" y="21"/>
                  <a:pt x="1696" y="47"/>
                </a:cubicBezTo>
                <a:cubicBezTo>
                  <a:pt x="1696" y="525"/>
                  <a:pt x="1696" y="525"/>
                  <a:pt x="1696" y="525"/>
                </a:cubicBezTo>
                <a:cubicBezTo>
                  <a:pt x="1696" y="550"/>
                  <a:pt x="1675" y="571"/>
                  <a:pt x="1649" y="571"/>
                </a:cubicBezTo>
                <a:cubicBezTo>
                  <a:pt x="46" y="571"/>
                  <a:pt x="46" y="571"/>
                  <a:pt x="46" y="571"/>
                </a:cubicBezTo>
                <a:cubicBezTo>
                  <a:pt x="21" y="571"/>
                  <a:pt x="0" y="550"/>
                  <a:pt x="0" y="525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21"/>
                  <a:pt x="21" y="0"/>
                  <a:pt x="46" y="0"/>
                </a:cubicBezTo>
                <a:lnTo>
                  <a:pt x="164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15" name="Freeform 1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6013451" y="4696469"/>
            <a:ext cx="1567036" cy="1388627"/>
          </a:xfrm>
          <a:custGeom>
            <a:avLst/>
            <a:gdLst>
              <a:gd name="T0" fmla="*/ 0 w 645"/>
              <a:gd name="T1" fmla="*/ 47 h 571"/>
              <a:gd name="T2" fmla="*/ 0 w 645"/>
              <a:gd name="T3" fmla="*/ 525 h 571"/>
              <a:gd name="T4" fmla="*/ 47 w 645"/>
              <a:gd name="T5" fmla="*/ 571 h 571"/>
              <a:gd name="T6" fmla="*/ 482 w 645"/>
              <a:gd name="T7" fmla="*/ 571 h 571"/>
              <a:gd name="T8" fmla="*/ 529 w 645"/>
              <a:gd name="T9" fmla="*/ 525 h 571"/>
              <a:gd name="T10" fmla="*/ 529 w 645"/>
              <a:gd name="T11" fmla="*/ 433 h 571"/>
              <a:gd name="T12" fmla="*/ 645 w 645"/>
              <a:gd name="T13" fmla="*/ 281 h 571"/>
              <a:gd name="T14" fmla="*/ 529 w 645"/>
              <a:gd name="T15" fmla="*/ 128 h 571"/>
              <a:gd name="T16" fmla="*/ 529 w 645"/>
              <a:gd name="T17" fmla="*/ 47 h 571"/>
              <a:gd name="T18" fmla="*/ 482 w 645"/>
              <a:gd name="T19" fmla="*/ 0 h 571"/>
              <a:gd name="T20" fmla="*/ 47 w 645"/>
              <a:gd name="T21" fmla="*/ 0 h 571"/>
              <a:gd name="T22" fmla="*/ 0 w 645"/>
              <a:gd name="T23" fmla="*/ 47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571">
                <a:moveTo>
                  <a:pt x="0" y="47"/>
                </a:moveTo>
                <a:cubicBezTo>
                  <a:pt x="0" y="525"/>
                  <a:pt x="0" y="525"/>
                  <a:pt x="0" y="525"/>
                </a:cubicBezTo>
                <a:cubicBezTo>
                  <a:pt x="0" y="550"/>
                  <a:pt x="21" y="571"/>
                  <a:pt x="47" y="571"/>
                </a:cubicBezTo>
                <a:cubicBezTo>
                  <a:pt x="482" y="571"/>
                  <a:pt x="482" y="571"/>
                  <a:pt x="482" y="571"/>
                </a:cubicBezTo>
                <a:cubicBezTo>
                  <a:pt x="508" y="571"/>
                  <a:pt x="529" y="550"/>
                  <a:pt x="529" y="525"/>
                </a:cubicBezTo>
                <a:cubicBezTo>
                  <a:pt x="529" y="433"/>
                  <a:pt x="529" y="433"/>
                  <a:pt x="529" y="433"/>
                </a:cubicBezTo>
                <a:cubicBezTo>
                  <a:pt x="645" y="281"/>
                  <a:pt x="645" y="281"/>
                  <a:pt x="645" y="281"/>
                </a:cubicBezTo>
                <a:cubicBezTo>
                  <a:pt x="529" y="128"/>
                  <a:pt x="529" y="128"/>
                  <a:pt x="529" y="128"/>
                </a:cubicBezTo>
                <a:cubicBezTo>
                  <a:pt x="529" y="47"/>
                  <a:pt x="529" y="47"/>
                  <a:pt x="529" y="47"/>
                </a:cubicBezTo>
                <a:cubicBezTo>
                  <a:pt x="529" y="21"/>
                  <a:pt x="508" y="0"/>
                  <a:pt x="482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21" y="0"/>
                  <a:pt x="0" y="21"/>
                  <a:pt x="0" y="4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16" name="Freeform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7369370" y="3092476"/>
            <a:ext cx="4122764" cy="1390115"/>
          </a:xfrm>
          <a:custGeom>
            <a:avLst/>
            <a:gdLst>
              <a:gd name="T0" fmla="*/ 1649 w 1696"/>
              <a:gd name="T1" fmla="*/ 0 h 572"/>
              <a:gd name="T2" fmla="*/ 1696 w 1696"/>
              <a:gd name="T3" fmla="*/ 47 h 572"/>
              <a:gd name="T4" fmla="*/ 1696 w 1696"/>
              <a:gd name="T5" fmla="*/ 525 h 572"/>
              <a:gd name="T6" fmla="*/ 1649 w 1696"/>
              <a:gd name="T7" fmla="*/ 572 h 572"/>
              <a:gd name="T8" fmla="*/ 46 w 1696"/>
              <a:gd name="T9" fmla="*/ 572 h 572"/>
              <a:gd name="T10" fmla="*/ 0 w 1696"/>
              <a:gd name="T11" fmla="*/ 525 h 572"/>
              <a:gd name="T12" fmla="*/ 0 w 1696"/>
              <a:gd name="T13" fmla="*/ 47 h 572"/>
              <a:gd name="T14" fmla="*/ 46 w 1696"/>
              <a:gd name="T15" fmla="*/ 0 h 572"/>
              <a:gd name="T16" fmla="*/ 1649 w 1696"/>
              <a:gd name="T17" fmla="*/ 0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5" h="572">
                <a:moveTo>
                  <a:pt x="1649" y="0"/>
                </a:moveTo>
                <a:cubicBezTo>
                  <a:pt x="1675" y="0"/>
                  <a:pt x="1696" y="21"/>
                  <a:pt x="1696" y="47"/>
                </a:cubicBezTo>
                <a:cubicBezTo>
                  <a:pt x="1696" y="525"/>
                  <a:pt x="1696" y="525"/>
                  <a:pt x="1696" y="525"/>
                </a:cubicBezTo>
                <a:cubicBezTo>
                  <a:pt x="1696" y="551"/>
                  <a:pt x="1675" y="572"/>
                  <a:pt x="1649" y="572"/>
                </a:cubicBezTo>
                <a:cubicBezTo>
                  <a:pt x="46" y="572"/>
                  <a:pt x="46" y="572"/>
                  <a:pt x="46" y="572"/>
                </a:cubicBezTo>
                <a:cubicBezTo>
                  <a:pt x="21" y="572"/>
                  <a:pt x="0" y="551"/>
                  <a:pt x="0" y="525"/>
                </a:cubicBezTo>
                <a:cubicBezTo>
                  <a:pt x="0" y="47"/>
                  <a:pt x="0" y="47"/>
                  <a:pt x="0" y="47"/>
                </a:cubicBezTo>
                <a:cubicBezTo>
                  <a:pt x="0" y="21"/>
                  <a:pt x="21" y="0"/>
                  <a:pt x="46" y="0"/>
                </a:cubicBezTo>
                <a:lnTo>
                  <a:pt x="1649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17" name="Freeform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6013451" y="3092476"/>
            <a:ext cx="1567036" cy="1390115"/>
          </a:xfrm>
          <a:custGeom>
            <a:avLst/>
            <a:gdLst>
              <a:gd name="T0" fmla="*/ 0 w 645"/>
              <a:gd name="T1" fmla="*/ 47 h 572"/>
              <a:gd name="T2" fmla="*/ 0 w 645"/>
              <a:gd name="T3" fmla="*/ 525 h 572"/>
              <a:gd name="T4" fmla="*/ 47 w 645"/>
              <a:gd name="T5" fmla="*/ 572 h 572"/>
              <a:gd name="T6" fmla="*/ 482 w 645"/>
              <a:gd name="T7" fmla="*/ 572 h 572"/>
              <a:gd name="T8" fmla="*/ 529 w 645"/>
              <a:gd name="T9" fmla="*/ 525 h 572"/>
              <a:gd name="T10" fmla="*/ 529 w 645"/>
              <a:gd name="T11" fmla="*/ 433 h 572"/>
              <a:gd name="T12" fmla="*/ 645 w 645"/>
              <a:gd name="T13" fmla="*/ 281 h 572"/>
              <a:gd name="T14" fmla="*/ 529 w 645"/>
              <a:gd name="T15" fmla="*/ 128 h 572"/>
              <a:gd name="T16" fmla="*/ 529 w 645"/>
              <a:gd name="T17" fmla="*/ 47 h 572"/>
              <a:gd name="T18" fmla="*/ 482 w 645"/>
              <a:gd name="T19" fmla="*/ 0 h 572"/>
              <a:gd name="T20" fmla="*/ 47 w 645"/>
              <a:gd name="T21" fmla="*/ 0 h 572"/>
              <a:gd name="T22" fmla="*/ 0 w 645"/>
              <a:gd name="T23" fmla="*/ 47 h 5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572">
                <a:moveTo>
                  <a:pt x="0" y="47"/>
                </a:moveTo>
                <a:cubicBezTo>
                  <a:pt x="0" y="525"/>
                  <a:pt x="0" y="525"/>
                  <a:pt x="0" y="525"/>
                </a:cubicBezTo>
                <a:cubicBezTo>
                  <a:pt x="0" y="551"/>
                  <a:pt x="21" y="572"/>
                  <a:pt x="47" y="572"/>
                </a:cubicBezTo>
                <a:cubicBezTo>
                  <a:pt x="482" y="572"/>
                  <a:pt x="482" y="572"/>
                  <a:pt x="482" y="572"/>
                </a:cubicBezTo>
                <a:cubicBezTo>
                  <a:pt x="508" y="572"/>
                  <a:pt x="529" y="551"/>
                  <a:pt x="529" y="525"/>
                </a:cubicBezTo>
                <a:cubicBezTo>
                  <a:pt x="529" y="433"/>
                  <a:pt x="529" y="433"/>
                  <a:pt x="529" y="433"/>
                </a:cubicBezTo>
                <a:cubicBezTo>
                  <a:pt x="645" y="281"/>
                  <a:pt x="645" y="281"/>
                  <a:pt x="645" y="281"/>
                </a:cubicBezTo>
                <a:cubicBezTo>
                  <a:pt x="529" y="128"/>
                  <a:pt x="529" y="128"/>
                  <a:pt x="529" y="128"/>
                </a:cubicBezTo>
                <a:cubicBezTo>
                  <a:pt x="529" y="47"/>
                  <a:pt x="529" y="47"/>
                  <a:pt x="529" y="47"/>
                </a:cubicBezTo>
                <a:cubicBezTo>
                  <a:pt x="529" y="21"/>
                  <a:pt x="508" y="0"/>
                  <a:pt x="482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21" y="0"/>
                  <a:pt x="0" y="21"/>
                  <a:pt x="0" y="47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18" name="Freeform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7369370" y="1491457"/>
            <a:ext cx="4122764" cy="1387140"/>
          </a:xfrm>
          <a:custGeom>
            <a:avLst/>
            <a:gdLst>
              <a:gd name="T0" fmla="*/ 1649 w 1696"/>
              <a:gd name="T1" fmla="*/ 0 h 571"/>
              <a:gd name="T2" fmla="*/ 1696 w 1696"/>
              <a:gd name="T3" fmla="*/ 46 h 571"/>
              <a:gd name="T4" fmla="*/ 1696 w 1696"/>
              <a:gd name="T5" fmla="*/ 524 h 571"/>
              <a:gd name="T6" fmla="*/ 1649 w 1696"/>
              <a:gd name="T7" fmla="*/ 571 h 571"/>
              <a:gd name="T8" fmla="*/ 46 w 1696"/>
              <a:gd name="T9" fmla="*/ 571 h 571"/>
              <a:gd name="T10" fmla="*/ 0 w 1696"/>
              <a:gd name="T11" fmla="*/ 524 h 571"/>
              <a:gd name="T12" fmla="*/ 0 w 1696"/>
              <a:gd name="T13" fmla="*/ 46 h 571"/>
              <a:gd name="T14" fmla="*/ 46 w 1696"/>
              <a:gd name="T15" fmla="*/ 0 h 571"/>
              <a:gd name="T16" fmla="*/ 1649 w 1696"/>
              <a:gd name="T17" fmla="*/ 0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695" h="571">
                <a:moveTo>
                  <a:pt x="1649" y="0"/>
                </a:moveTo>
                <a:cubicBezTo>
                  <a:pt x="1675" y="0"/>
                  <a:pt x="1696" y="21"/>
                  <a:pt x="1696" y="46"/>
                </a:cubicBezTo>
                <a:cubicBezTo>
                  <a:pt x="1696" y="524"/>
                  <a:pt x="1696" y="524"/>
                  <a:pt x="1696" y="524"/>
                </a:cubicBezTo>
                <a:cubicBezTo>
                  <a:pt x="1696" y="550"/>
                  <a:pt x="1675" y="571"/>
                  <a:pt x="1649" y="571"/>
                </a:cubicBezTo>
                <a:cubicBezTo>
                  <a:pt x="46" y="571"/>
                  <a:pt x="46" y="571"/>
                  <a:pt x="46" y="571"/>
                </a:cubicBezTo>
                <a:cubicBezTo>
                  <a:pt x="21" y="571"/>
                  <a:pt x="0" y="550"/>
                  <a:pt x="0" y="524"/>
                </a:cubicBezTo>
                <a:cubicBezTo>
                  <a:pt x="0" y="46"/>
                  <a:pt x="0" y="46"/>
                  <a:pt x="0" y="46"/>
                </a:cubicBezTo>
                <a:cubicBezTo>
                  <a:pt x="0" y="21"/>
                  <a:pt x="21" y="0"/>
                  <a:pt x="46" y="0"/>
                </a:cubicBezTo>
                <a:lnTo>
                  <a:pt x="1649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19" name="Freeform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6013451" y="1491457"/>
            <a:ext cx="1567036" cy="1387140"/>
          </a:xfrm>
          <a:custGeom>
            <a:avLst/>
            <a:gdLst>
              <a:gd name="T0" fmla="*/ 0 w 645"/>
              <a:gd name="T1" fmla="*/ 46 h 571"/>
              <a:gd name="T2" fmla="*/ 0 w 645"/>
              <a:gd name="T3" fmla="*/ 524 h 571"/>
              <a:gd name="T4" fmla="*/ 47 w 645"/>
              <a:gd name="T5" fmla="*/ 571 h 571"/>
              <a:gd name="T6" fmla="*/ 482 w 645"/>
              <a:gd name="T7" fmla="*/ 571 h 571"/>
              <a:gd name="T8" fmla="*/ 529 w 645"/>
              <a:gd name="T9" fmla="*/ 524 h 571"/>
              <a:gd name="T10" fmla="*/ 529 w 645"/>
              <a:gd name="T11" fmla="*/ 432 h 571"/>
              <a:gd name="T12" fmla="*/ 645 w 645"/>
              <a:gd name="T13" fmla="*/ 280 h 571"/>
              <a:gd name="T14" fmla="*/ 529 w 645"/>
              <a:gd name="T15" fmla="*/ 128 h 571"/>
              <a:gd name="T16" fmla="*/ 529 w 645"/>
              <a:gd name="T17" fmla="*/ 46 h 571"/>
              <a:gd name="T18" fmla="*/ 482 w 645"/>
              <a:gd name="T19" fmla="*/ 0 h 571"/>
              <a:gd name="T20" fmla="*/ 47 w 645"/>
              <a:gd name="T21" fmla="*/ 0 h 571"/>
              <a:gd name="T22" fmla="*/ 0 w 645"/>
              <a:gd name="T23" fmla="*/ 46 h 5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45" h="571">
                <a:moveTo>
                  <a:pt x="0" y="46"/>
                </a:moveTo>
                <a:cubicBezTo>
                  <a:pt x="0" y="524"/>
                  <a:pt x="0" y="524"/>
                  <a:pt x="0" y="524"/>
                </a:cubicBezTo>
                <a:cubicBezTo>
                  <a:pt x="0" y="550"/>
                  <a:pt x="21" y="571"/>
                  <a:pt x="47" y="571"/>
                </a:cubicBezTo>
                <a:cubicBezTo>
                  <a:pt x="482" y="571"/>
                  <a:pt x="482" y="571"/>
                  <a:pt x="482" y="571"/>
                </a:cubicBezTo>
                <a:cubicBezTo>
                  <a:pt x="508" y="571"/>
                  <a:pt x="529" y="550"/>
                  <a:pt x="529" y="524"/>
                </a:cubicBezTo>
                <a:cubicBezTo>
                  <a:pt x="529" y="432"/>
                  <a:pt x="529" y="432"/>
                  <a:pt x="529" y="432"/>
                </a:cubicBezTo>
                <a:cubicBezTo>
                  <a:pt x="645" y="280"/>
                  <a:pt x="645" y="280"/>
                  <a:pt x="645" y="280"/>
                </a:cubicBezTo>
                <a:cubicBezTo>
                  <a:pt x="529" y="128"/>
                  <a:pt x="529" y="128"/>
                  <a:pt x="529" y="128"/>
                </a:cubicBezTo>
                <a:cubicBezTo>
                  <a:pt x="529" y="46"/>
                  <a:pt x="529" y="46"/>
                  <a:pt x="529" y="46"/>
                </a:cubicBezTo>
                <a:cubicBezTo>
                  <a:pt x="529" y="21"/>
                  <a:pt x="508" y="0"/>
                  <a:pt x="482" y="0"/>
                </a:cubicBezTo>
                <a:cubicBezTo>
                  <a:pt x="47" y="0"/>
                  <a:pt x="47" y="0"/>
                  <a:pt x="47" y="0"/>
                </a:cubicBezTo>
                <a:cubicBezTo>
                  <a:pt x="21" y="0"/>
                  <a:pt x="0" y="21"/>
                  <a:pt x="0" y="46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30000"/>
              </a:prstClr>
            </a:outerShdw>
          </a:effectLst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22" name="Rectangle 2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20319" y="4954864"/>
            <a:ext cx="809837" cy="830997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800">
                <a:solidFill>
                  <a:schemeClr val="bg2"/>
                </a:solidFill>
                <a:cs typeface="+mn-ea"/>
                <a:sym typeface="+mn-lt"/>
              </a:rPr>
              <a:t>03</a:t>
            </a:r>
            <a:endParaRPr lang="id-ID" sz="480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24" name="Rectangle 2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20319" y="3318288"/>
            <a:ext cx="809837" cy="830997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800">
                <a:solidFill>
                  <a:schemeClr val="bg2"/>
                </a:solidFill>
                <a:cs typeface="+mn-ea"/>
                <a:sym typeface="+mn-lt"/>
              </a:rPr>
              <a:t>02</a:t>
            </a:r>
            <a:endParaRPr lang="id-ID" sz="480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26" name="Rectangle 2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20319" y="1749040"/>
            <a:ext cx="809837" cy="830997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800">
                <a:solidFill>
                  <a:schemeClr val="bg2"/>
                </a:solidFill>
                <a:cs typeface="+mn-ea"/>
                <a:sym typeface="+mn-lt"/>
              </a:rPr>
              <a:t>01</a:t>
            </a:r>
            <a:endParaRPr lang="id-ID" sz="480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46" name="Rectangle 4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269970" y="4979093"/>
            <a:ext cx="809837" cy="830997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800">
                <a:solidFill>
                  <a:schemeClr val="bg2"/>
                </a:solidFill>
                <a:cs typeface="+mn-ea"/>
                <a:sym typeface="+mn-lt"/>
              </a:rPr>
              <a:t>06</a:t>
            </a:r>
            <a:endParaRPr lang="id-ID" sz="480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48" name="Rectangle 4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269970" y="3342516"/>
            <a:ext cx="809837" cy="830997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800">
                <a:solidFill>
                  <a:schemeClr val="bg2"/>
                </a:solidFill>
                <a:cs typeface="+mn-ea"/>
                <a:sym typeface="+mn-lt"/>
              </a:rPr>
              <a:t>05</a:t>
            </a:r>
            <a:endParaRPr lang="id-ID" sz="480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50" name="Rectangle 4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269970" y="1773268"/>
            <a:ext cx="809837" cy="830997"/>
          </a:xfrm>
          <a:prstGeom prst="rect">
            <a:avLst/>
          </a:prstGeom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4800">
                <a:solidFill>
                  <a:schemeClr val="bg2"/>
                </a:solidFill>
                <a:cs typeface="+mn-ea"/>
                <a:sym typeface="+mn-lt"/>
              </a:rPr>
              <a:t>04</a:t>
            </a:r>
            <a:endParaRPr lang="id-ID" sz="480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58" name="Freeform 5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EditPoints="1"/>
          </p:cNvSpPr>
          <p:nvPr/>
        </p:nvSpPr>
        <p:spPr bwMode="auto">
          <a:xfrm>
            <a:off x="10341721" y="3396098"/>
            <a:ext cx="889327" cy="762551"/>
          </a:xfrm>
          <a:custGeom>
            <a:avLst/>
            <a:gdLst>
              <a:gd name="T0" fmla="*/ 156 w 199"/>
              <a:gd name="T1" fmla="*/ 84 h 170"/>
              <a:gd name="T2" fmla="*/ 114 w 199"/>
              <a:gd name="T3" fmla="*/ 127 h 170"/>
              <a:gd name="T4" fmla="*/ 156 w 199"/>
              <a:gd name="T5" fmla="*/ 170 h 170"/>
              <a:gd name="T6" fmla="*/ 199 w 199"/>
              <a:gd name="T7" fmla="*/ 127 h 170"/>
              <a:gd name="T8" fmla="*/ 156 w 199"/>
              <a:gd name="T9" fmla="*/ 84 h 170"/>
              <a:gd name="T10" fmla="*/ 151 w 199"/>
              <a:gd name="T11" fmla="*/ 147 h 170"/>
              <a:gd name="T12" fmla="*/ 131 w 199"/>
              <a:gd name="T13" fmla="*/ 130 h 170"/>
              <a:gd name="T14" fmla="*/ 139 w 199"/>
              <a:gd name="T15" fmla="*/ 120 h 170"/>
              <a:gd name="T16" fmla="*/ 151 w 199"/>
              <a:gd name="T17" fmla="*/ 130 h 170"/>
              <a:gd name="T18" fmla="*/ 175 w 199"/>
              <a:gd name="T19" fmla="*/ 109 h 170"/>
              <a:gd name="T20" fmla="*/ 183 w 199"/>
              <a:gd name="T21" fmla="*/ 119 h 170"/>
              <a:gd name="T22" fmla="*/ 151 w 199"/>
              <a:gd name="T23" fmla="*/ 147 h 170"/>
              <a:gd name="T24" fmla="*/ 106 w 199"/>
              <a:gd name="T25" fmla="*/ 127 h 170"/>
              <a:gd name="T26" fmla="*/ 119 w 199"/>
              <a:gd name="T27" fmla="*/ 161 h 170"/>
              <a:gd name="T28" fmla="*/ 105 w 199"/>
              <a:gd name="T29" fmla="*/ 166 h 170"/>
              <a:gd name="T30" fmla="*/ 83 w 199"/>
              <a:gd name="T31" fmla="*/ 150 h 170"/>
              <a:gd name="T32" fmla="*/ 61 w 199"/>
              <a:gd name="T33" fmla="*/ 166 h 170"/>
              <a:gd name="T34" fmla="*/ 40 w 199"/>
              <a:gd name="T35" fmla="*/ 157 h 170"/>
              <a:gd name="T36" fmla="*/ 35 w 199"/>
              <a:gd name="T37" fmla="*/ 131 h 170"/>
              <a:gd name="T38" fmla="*/ 8 w 199"/>
              <a:gd name="T39" fmla="*/ 126 h 170"/>
              <a:gd name="T40" fmla="*/ 0 w 199"/>
              <a:gd name="T41" fmla="*/ 105 h 170"/>
              <a:gd name="T42" fmla="*/ 15 w 199"/>
              <a:gd name="T43" fmla="*/ 83 h 170"/>
              <a:gd name="T44" fmla="*/ 0 w 199"/>
              <a:gd name="T45" fmla="*/ 61 h 170"/>
              <a:gd name="T46" fmla="*/ 8 w 199"/>
              <a:gd name="T47" fmla="*/ 40 h 170"/>
              <a:gd name="T48" fmla="*/ 35 w 199"/>
              <a:gd name="T49" fmla="*/ 35 h 170"/>
              <a:gd name="T50" fmla="*/ 40 w 199"/>
              <a:gd name="T51" fmla="*/ 9 h 170"/>
              <a:gd name="T52" fmla="*/ 61 w 199"/>
              <a:gd name="T53" fmla="*/ 0 h 170"/>
              <a:gd name="T54" fmla="*/ 83 w 199"/>
              <a:gd name="T55" fmla="*/ 16 h 170"/>
              <a:gd name="T56" fmla="*/ 105 w 199"/>
              <a:gd name="T57" fmla="*/ 0 h 170"/>
              <a:gd name="T58" fmla="*/ 126 w 199"/>
              <a:gd name="T59" fmla="*/ 9 h 170"/>
              <a:gd name="T60" fmla="*/ 131 w 199"/>
              <a:gd name="T61" fmla="*/ 35 h 170"/>
              <a:gd name="T62" fmla="*/ 157 w 199"/>
              <a:gd name="T63" fmla="*/ 40 h 170"/>
              <a:gd name="T64" fmla="*/ 166 w 199"/>
              <a:gd name="T65" fmla="*/ 61 h 170"/>
              <a:gd name="T66" fmla="*/ 151 w 199"/>
              <a:gd name="T67" fmla="*/ 76 h 170"/>
              <a:gd name="T68" fmla="*/ 124 w 199"/>
              <a:gd name="T69" fmla="*/ 88 h 170"/>
              <a:gd name="T70" fmla="*/ 124 w 199"/>
              <a:gd name="T71" fmla="*/ 83 h 170"/>
              <a:gd name="T72" fmla="*/ 83 w 199"/>
              <a:gd name="T73" fmla="*/ 42 h 170"/>
              <a:gd name="T74" fmla="*/ 41 w 199"/>
              <a:gd name="T75" fmla="*/ 83 h 170"/>
              <a:gd name="T76" fmla="*/ 83 w 199"/>
              <a:gd name="T77" fmla="*/ 124 h 170"/>
              <a:gd name="T78" fmla="*/ 107 w 199"/>
              <a:gd name="T79" fmla="*/ 117 h 170"/>
              <a:gd name="T80" fmla="*/ 106 w 199"/>
              <a:gd name="T81" fmla="*/ 127 h 170"/>
              <a:gd name="T82" fmla="*/ 83 w 199"/>
              <a:gd name="T83" fmla="*/ 46 h 170"/>
              <a:gd name="T84" fmla="*/ 45 w 199"/>
              <a:gd name="T85" fmla="*/ 83 h 170"/>
              <a:gd name="T86" fmla="*/ 83 w 199"/>
              <a:gd name="T87" fmla="*/ 120 h 170"/>
              <a:gd name="T88" fmla="*/ 108 w 199"/>
              <a:gd name="T89" fmla="*/ 110 h 170"/>
              <a:gd name="T90" fmla="*/ 119 w 199"/>
              <a:gd name="T91" fmla="*/ 92 h 170"/>
              <a:gd name="T92" fmla="*/ 120 w 199"/>
              <a:gd name="T93" fmla="*/ 83 h 170"/>
              <a:gd name="T94" fmla="*/ 83 w 199"/>
              <a:gd name="T95" fmla="*/ 46 h 170"/>
              <a:gd name="T96" fmla="*/ 83 w 199"/>
              <a:gd name="T97" fmla="*/ 108 h 170"/>
              <a:gd name="T98" fmla="*/ 58 w 199"/>
              <a:gd name="T99" fmla="*/ 83 h 170"/>
              <a:gd name="T100" fmla="*/ 83 w 199"/>
              <a:gd name="T101" fmla="*/ 58 h 170"/>
              <a:gd name="T102" fmla="*/ 108 w 199"/>
              <a:gd name="T103" fmla="*/ 83 h 170"/>
              <a:gd name="T104" fmla="*/ 83 w 199"/>
              <a:gd name="T105" fmla="*/ 108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99" h="170">
                <a:moveTo>
                  <a:pt x="156" y="84"/>
                </a:moveTo>
                <a:cubicBezTo>
                  <a:pt x="133" y="84"/>
                  <a:pt x="114" y="103"/>
                  <a:pt x="114" y="127"/>
                </a:cubicBezTo>
                <a:cubicBezTo>
                  <a:pt x="114" y="150"/>
                  <a:pt x="133" y="170"/>
                  <a:pt x="156" y="170"/>
                </a:cubicBezTo>
                <a:cubicBezTo>
                  <a:pt x="180" y="170"/>
                  <a:pt x="199" y="150"/>
                  <a:pt x="199" y="127"/>
                </a:cubicBezTo>
                <a:cubicBezTo>
                  <a:pt x="199" y="103"/>
                  <a:pt x="180" y="84"/>
                  <a:pt x="156" y="84"/>
                </a:cubicBezTo>
                <a:moveTo>
                  <a:pt x="151" y="147"/>
                </a:moveTo>
                <a:cubicBezTo>
                  <a:pt x="131" y="130"/>
                  <a:pt x="131" y="130"/>
                  <a:pt x="131" y="130"/>
                </a:cubicBezTo>
                <a:cubicBezTo>
                  <a:pt x="139" y="120"/>
                  <a:pt x="139" y="120"/>
                  <a:pt x="139" y="120"/>
                </a:cubicBezTo>
                <a:cubicBezTo>
                  <a:pt x="151" y="130"/>
                  <a:pt x="151" y="130"/>
                  <a:pt x="151" y="130"/>
                </a:cubicBezTo>
                <a:cubicBezTo>
                  <a:pt x="175" y="109"/>
                  <a:pt x="175" y="109"/>
                  <a:pt x="175" y="109"/>
                </a:cubicBezTo>
                <a:cubicBezTo>
                  <a:pt x="183" y="119"/>
                  <a:pt x="183" y="119"/>
                  <a:pt x="183" y="119"/>
                </a:cubicBezTo>
                <a:lnTo>
                  <a:pt x="151" y="147"/>
                </a:lnTo>
                <a:close/>
                <a:moveTo>
                  <a:pt x="106" y="127"/>
                </a:moveTo>
                <a:cubicBezTo>
                  <a:pt x="106" y="140"/>
                  <a:pt x="111" y="152"/>
                  <a:pt x="119" y="161"/>
                </a:cubicBezTo>
                <a:cubicBezTo>
                  <a:pt x="114" y="163"/>
                  <a:pt x="110" y="165"/>
                  <a:pt x="105" y="166"/>
                </a:cubicBezTo>
                <a:cubicBezTo>
                  <a:pt x="102" y="157"/>
                  <a:pt x="93" y="150"/>
                  <a:pt x="83" y="150"/>
                </a:cubicBezTo>
                <a:cubicBezTo>
                  <a:pt x="73" y="150"/>
                  <a:pt x="64" y="157"/>
                  <a:pt x="61" y="166"/>
                </a:cubicBezTo>
                <a:cubicBezTo>
                  <a:pt x="53" y="164"/>
                  <a:pt x="46" y="161"/>
                  <a:pt x="40" y="157"/>
                </a:cubicBezTo>
                <a:cubicBezTo>
                  <a:pt x="44" y="149"/>
                  <a:pt x="42" y="138"/>
                  <a:pt x="35" y="131"/>
                </a:cubicBezTo>
                <a:cubicBezTo>
                  <a:pt x="28" y="124"/>
                  <a:pt x="17" y="122"/>
                  <a:pt x="8" y="126"/>
                </a:cubicBezTo>
                <a:cubicBezTo>
                  <a:pt x="5" y="120"/>
                  <a:pt x="2" y="113"/>
                  <a:pt x="0" y="105"/>
                </a:cubicBezTo>
                <a:cubicBezTo>
                  <a:pt x="9" y="102"/>
                  <a:pt x="15" y="93"/>
                  <a:pt x="15" y="83"/>
                </a:cubicBezTo>
                <a:cubicBezTo>
                  <a:pt x="15" y="73"/>
                  <a:pt x="9" y="64"/>
                  <a:pt x="0" y="61"/>
                </a:cubicBezTo>
                <a:cubicBezTo>
                  <a:pt x="2" y="54"/>
                  <a:pt x="5" y="47"/>
                  <a:pt x="8" y="40"/>
                </a:cubicBezTo>
                <a:cubicBezTo>
                  <a:pt x="17" y="44"/>
                  <a:pt x="28" y="43"/>
                  <a:pt x="35" y="35"/>
                </a:cubicBezTo>
                <a:cubicBezTo>
                  <a:pt x="42" y="28"/>
                  <a:pt x="44" y="17"/>
                  <a:pt x="40" y="9"/>
                </a:cubicBezTo>
                <a:cubicBezTo>
                  <a:pt x="46" y="5"/>
                  <a:pt x="53" y="2"/>
                  <a:pt x="61" y="0"/>
                </a:cubicBezTo>
                <a:cubicBezTo>
                  <a:pt x="64" y="9"/>
                  <a:pt x="73" y="16"/>
                  <a:pt x="83" y="16"/>
                </a:cubicBezTo>
                <a:cubicBezTo>
                  <a:pt x="93" y="16"/>
                  <a:pt x="102" y="9"/>
                  <a:pt x="105" y="0"/>
                </a:cubicBezTo>
                <a:cubicBezTo>
                  <a:pt x="112" y="2"/>
                  <a:pt x="119" y="5"/>
                  <a:pt x="126" y="9"/>
                </a:cubicBezTo>
                <a:cubicBezTo>
                  <a:pt x="122" y="17"/>
                  <a:pt x="123" y="28"/>
                  <a:pt x="131" y="35"/>
                </a:cubicBezTo>
                <a:cubicBezTo>
                  <a:pt x="138" y="43"/>
                  <a:pt x="148" y="44"/>
                  <a:pt x="157" y="40"/>
                </a:cubicBezTo>
                <a:cubicBezTo>
                  <a:pt x="161" y="47"/>
                  <a:pt x="164" y="54"/>
                  <a:pt x="166" y="61"/>
                </a:cubicBezTo>
                <a:cubicBezTo>
                  <a:pt x="159" y="63"/>
                  <a:pt x="154" y="69"/>
                  <a:pt x="151" y="76"/>
                </a:cubicBezTo>
                <a:cubicBezTo>
                  <a:pt x="141" y="77"/>
                  <a:pt x="132" y="81"/>
                  <a:pt x="124" y="88"/>
                </a:cubicBezTo>
                <a:cubicBezTo>
                  <a:pt x="124" y="86"/>
                  <a:pt x="124" y="85"/>
                  <a:pt x="124" y="83"/>
                </a:cubicBezTo>
                <a:cubicBezTo>
                  <a:pt x="124" y="60"/>
                  <a:pt x="106" y="42"/>
                  <a:pt x="83" y="42"/>
                </a:cubicBezTo>
                <a:cubicBezTo>
                  <a:pt x="60" y="42"/>
                  <a:pt x="41" y="60"/>
                  <a:pt x="41" y="83"/>
                </a:cubicBezTo>
                <a:cubicBezTo>
                  <a:pt x="41" y="106"/>
                  <a:pt x="60" y="124"/>
                  <a:pt x="83" y="124"/>
                </a:cubicBezTo>
                <a:cubicBezTo>
                  <a:pt x="92" y="124"/>
                  <a:pt x="100" y="122"/>
                  <a:pt x="107" y="117"/>
                </a:cubicBezTo>
                <a:cubicBezTo>
                  <a:pt x="106" y="120"/>
                  <a:pt x="106" y="123"/>
                  <a:pt x="106" y="127"/>
                </a:cubicBezTo>
                <a:moveTo>
                  <a:pt x="83" y="46"/>
                </a:moveTo>
                <a:cubicBezTo>
                  <a:pt x="62" y="46"/>
                  <a:pt x="45" y="62"/>
                  <a:pt x="45" y="83"/>
                </a:cubicBezTo>
                <a:cubicBezTo>
                  <a:pt x="45" y="104"/>
                  <a:pt x="62" y="120"/>
                  <a:pt x="83" y="120"/>
                </a:cubicBezTo>
                <a:cubicBezTo>
                  <a:pt x="93" y="120"/>
                  <a:pt x="102" y="116"/>
                  <a:pt x="108" y="110"/>
                </a:cubicBezTo>
                <a:cubicBezTo>
                  <a:pt x="111" y="104"/>
                  <a:pt x="114" y="98"/>
                  <a:pt x="119" y="92"/>
                </a:cubicBezTo>
                <a:cubicBezTo>
                  <a:pt x="120" y="89"/>
                  <a:pt x="120" y="86"/>
                  <a:pt x="120" y="83"/>
                </a:cubicBezTo>
                <a:cubicBezTo>
                  <a:pt x="120" y="62"/>
                  <a:pt x="104" y="46"/>
                  <a:pt x="83" y="46"/>
                </a:cubicBezTo>
                <a:moveTo>
                  <a:pt x="83" y="108"/>
                </a:moveTo>
                <a:cubicBezTo>
                  <a:pt x="69" y="108"/>
                  <a:pt x="58" y="97"/>
                  <a:pt x="58" y="83"/>
                </a:cubicBezTo>
                <a:cubicBezTo>
                  <a:pt x="58" y="69"/>
                  <a:pt x="69" y="58"/>
                  <a:pt x="83" y="58"/>
                </a:cubicBezTo>
                <a:cubicBezTo>
                  <a:pt x="97" y="58"/>
                  <a:pt x="108" y="69"/>
                  <a:pt x="108" y="83"/>
                </a:cubicBezTo>
                <a:cubicBezTo>
                  <a:pt x="108" y="97"/>
                  <a:pt x="97" y="108"/>
                  <a:pt x="83" y="108"/>
                </a:cubicBezTo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59" name="Freeform 5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4799512" y="4881340"/>
            <a:ext cx="609283" cy="900680"/>
          </a:xfrm>
          <a:custGeom>
            <a:avLst/>
            <a:gdLst>
              <a:gd name="T0" fmla="*/ 128 w 136"/>
              <a:gd name="T1" fmla="*/ 185 h 201"/>
              <a:gd name="T2" fmla="*/ 117 w 136"/>
              <a:gd name="T3" fmla="*/ 177 h 201"/>
              <a:gd name="T4" fmla="*/ 117 w 136"/>
              <a:gd name="T5" fmla="*/ 155 h 201"/>
              <a:gd name="T6" fmla="*/ 126 w 136"/>
              <a:gd name="T7" fmla="*/ 150 h 201"/>
              <a:gd name="T8" fmla="*/ 110 w 136"/>
              <a:gd name="T9" fmla="*/ 142 h 201"/>
              <a:gd name="T10" fmla="*/ 111 w 136"/>
              <a:gd name="T11" fmla="*/ 103 h 201"/>
              <a:gd name="T12" fmla="*/ 112 w 136"/>
              <a:gd name="T13" fmla="*/ 91 h 201"/>
              <a:gd name="T14" fmla="*/ 42 w 136"/>
              <a:gd name="T15" fmla="*/ 6 h 201"/>
              <a:gd name="T16" fmla="*/ 9 w 136"/>
              <a:gd name="T17" fmla="*/ 22 h 201"/>
              <a:gd name="T18" fmla="*/ 8 w 136"/>
              <a:gd name="T19" fmla="*/ 33 h 201"/>
              <a:gd name="T20" fmla="*/ 22 w 136"/>
              <a:gd name="T21" fmla="*/ 30 h 201"/>
              <a:gd name="T22" fmla="*/ 22 w 136"/>
              <a:gd name="T23" fmla="*/ 30 h 201"/>
              <a:gd name="T24" fmla="*/ 10 w 136"/>
              <a:gd name="T25" fmla="*/ 55 h 201"/>
              <a:gd name="T26" fmla="*/ 3 w 136"/>
              <a:gd name="T27" fmla="*/ 78 h 201"/>
              <a:gd name="T28" fmla="*/ 19 w 136"/>
              <a:gd name="T29" fmla="*/ 84 h 201"/>
              <a:gd name="T30" fmla="*/ 33 w 136"/>
              <a:gd name="T31" fmla="*/ 69 h 201"/>
              <a:gd name="T32" fmla="*/ 44 w 136"/>
              <a:gd name="T33" fmla="*/ 90 h 201"/>
              <a:gd name="T34" fmla="*/ 20 w 136"/>
              <a:gd name="T35" fmla="*/ 124 h 201"/>
              <a:gd name="T36" fmla="*/ 23 w 136"/>
              <a:gd name="T37" fmla="*/ 135 h 201"/>
              <a:gd name="T38" fmla="*/ 25 w 136"/>
              <a:gd name="T39" fmla="*/ 137 h 201"/>
              <a:gd name="T40" fmla="*/ 27 w 136"/>
              <a:gd name="T41" fmla="*/ 139 h 201"/>
              <a:gd name="T42" fmla="*/ 29 w 136"/>
              <a:gd name="T43" fmla="*/ 141 h 201"/>
              <a:gd name="T44" fmla="*/ 30 w 136"/>
              <a:gd name="T45" fmla="*/ 142 h 201"/>
              <a:gd name="T46" fmla="*/ 23 w 136"/>
              <a:gd name="T47" fmla="*/ 142 h 201"/>
              <a:gd name="T48" fmla="*/ 11 w 136"/>
              <a:gd name="T49" fmla="*/ 150 h 201"/>
              <a:gd name="T50" fmla="*/ 13 w 136"/>
              <a:gd name="T51" fmla="*/ 154 h 201"/>
              <a:gd name="T52" fmla="*/ 16 w 136"/>
              <a:gd name="T53" fmla="*/ 155 h 201"/>
              <a:gd name="T54" fmla="*/ 20 w 136"/>
              <a:gd name="T55" fmla="*/ 155 h 201"/>
              <a:gd name="T56" fmla="*/ 20 w 136"/>
              <a:gd name="T57" fmla="*/ 177 h 201"/>
              <a:gd name="T58" fmla="*/ 20 w 136"/>
              <a:gd name="T59" fmla="*/ 177 h 201"/>
              <a:gd name="T60" fmla="*/ 9 w 136"/>
              <a:gd name="T61" fmla="*/ 187 h 201"/>
              <a:gd name="T62" fmla="*/ 7 w 136"/>
              <a:gd name="T63" fmla="*/ 189 h 201"/>
              <a:gd name="T64" fmla="*/ 6 w 136"/>
              <a:gd name="T65" fmla="*/ 190 h 201"/>
              <a:gd name="T66" fmla="*/ 5 w 136"/>
              <a:gd name="T67" fmla="*/ 190 h 201"/>
              <a:gd name="T68" fmla="*/ 4 w 136"/>
              <a:gd name="T69" fmla="*/ 191 h 201"/>
              <a:gd name="T70" fmla="*/ 4 w 136"/>
              <a:gd name="T71" fmla="*/ 191 h 201"/>
              <a:gd name="T72" fmla="*/ 3 w 136"/>
              <a:gd name="T73" fmla="*/ 193 h 201"/>
              <a:gd name="T74" fmla="*/ 2 w 136"/>
              <a:gd name="T75" fmla="*/ 193 h 201"/>
              <a:gd name="T76" fmla="*/ 2 w 136"/>
              <a:gd name="T77" fmla="*/ 194 h 201"/>
              <a:gd name="T78" fmla="*/ 2 w 136"/>
              <a:gd name="T79" fmla="*/ 195 h 201"/>
              <a:gd name="T80" fmla="*/ 2 w 136"/>
              <a:gd name="T81" fmla="*/ 197 h 201"/>
              <a:gd name="T82" fmla="*/ 2 w 136"/>
              <a:gd name="T83" fmla="*/ 198 h 201"/>
              <a:gd name="T84" fmla="*/ 2 w 136"/>
              <a:gd name="T85" fmla="*/ 199 h 201"/>
              <a:gd name="T86" fmla="*/ 3 w 136"/>
              <a:gd name="T87" fmla="*/ 200 h 201"/>
              <a:gd name="T88" fmla="*/ 6 w 136"/>
              <a:gd name="T89" fmla="*/ 201 h 201"/>
              <a:gd name="T90" fmla="*/ 52 w 136"/>
              <a:gd name="T91" fmla="*/ 201 h 201"/>
              <a:gd name="T92" fmla="*/ 136 w 136"/>
              <a:gd name="T93" fmla="*/ 196 h 2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6" h="201">
                <a:moveTo>
                  <a:pt x="128" y="188"/>
                </a:moveTo>
                <a:cubicBezTo>
                  <a:pt x="128" y="187"/>
                  <a:pt x="128" y="187"/>
                  <a:pt x="128" y="185"/>
                </a:cubicBezTo>
                <a:cubicBezTo>
                  <a:pt x="128" y="182"/>
                  <a:pt x="124" y="177"/>
                  <a:pt x="117" y="177"/>
                </a:cubicBezTo>
                <a:cubicBezTo>
                  <a:pt x="117" y="177"/>
                  <a:pt x="117" y="177"/>
                  <a:pt x="117" y="177"/>
                </a:cubicBezTo>
                <a:cubicBezTo>
                  <a:pt x="115" y="174"/>
                  <a:pt x="111" y="170"/>
                  <a:pt x="111" y="165"/>
                </a:cubicBezTo>
                <a:cubicBezTo>
                  <a:pt x="111" y="161"/>
                  <a:pt x="115" y="157"/>
                  <a:pt x="117" y="155"/>
                </a:cubicBezTo>
                <a:cubicBezTo>
                  <a:pt x="120" y="155"/>
                  <a:pt x="121" y="155"/>
                  <a:pt x="122" y="155"/>
                </a:cubicBezTo>
                <a:cubicBezTo>
                  <a:pt x="123" y="155"/>
                  <a:pt x="126" y="154"/>
                  <a:pt x="126" y="150"/>
                </a:cubicBezTo>
                <a:cubicBezTo>
                  <a:pt x="126" y="147"/>
                  <a:pt x="122" y="142"/>
                  <a:pt x="114" y="142"/>
                </a:cubicBezTo>
                <a:cubicBezTo>
                  <a:pt x="113" y="142"/>
                  <a:pt x="112" y="142"/>
                  <a:pt x="110" y="142"/>
                </a:cubicBezTo>
                <a:cubicBezTo>
                  <a:pt x="123" y="132"/>
                  <a:pt x="123" y="132"/>
                  <a:pt x="123" y="132"/>
                </a:cubicBezTo>
                <a:cubicBezTo>
                  <a:pt x="123" y="132"/>
                  <a:pt x="111" y="115"/>
                  <a:pt x="111" y="103"/>
                </a:cubicBezTo>
                <a:cubicBezTo>
                  <a:pt x="111" y="103"/>
                  <a:pt x="111" y="103"/>
                  <a:pt x="111" y="102"/>
                </a:cubicBezTo>
                <a:cubicBezTo>
                  <a:pt x="111" y="99"/>
                  <a:pt x="111" y="95"/>
                  <a:pt x="112" y="91"/>
                </a:cubicBezTo>
                <a:cubicBezTo>
                  <a:pt x="112" y="79"/>
                  <a:pt x="113" y="53"/>
                  <a:pt x="102" y="33"/>
                </a:cubicBezTo>
                <a:cubicBezTo>
                  <a:pt x="91" y="12"/>
                  <a:pt x="69" y="0"/>
                  <a:pt x="42" y="6"/>
                </a:cubicBezTo>
                <a:cubicBezTo>
                  <a:pt x="30" y="9"/>
                  <a:pt x="21" y="16"/>
                  <a:pt x="16" y="22"/>
                </a:cubicBezTo>
                <a:cubicBezTo>
                  <a:pt x="9" y="22"/>
                  <a:pt x="9" y="22"/>
                  <a:pt x="9" y="22"/>
                </a:cubicBezTo>
                <a:cubicBezTo>
                  <a:pt x="11" y="23"/>
                  <a:pt x="12" y="24"/>
                  <a:pt x="13" y="25"/>
                </a:cubicBezTo>
                <a:cubicBezTo>
                  <a:pt x="9" y="29"/>
                  <a:pt x="8" y="33"/>
                  <a:pt x="8" y="33"/>
                </a:cubicBezTo>
                <a:cubicBezTo>
                  <a:pt x="20" y="33"/>
                  <a:pt x="20" y="33"/>
                  <a:pt x="20" y="33"/>
                </a:cubicBezTo>
                <a:cubicBezTo>
                  <a:pt x="22" y="31"/>
                  <a:pt x="22" y="30"/>
                  <a:pt x="22" y="30"/>
                </a:cubicBezTo>
                <a:cubicBezTo>
                  <a:pt x="21" y="29"/>
                  <a:pt x="20" y="29"/>
                  <a:pt x="19" y="28"/>
                </a:cubicBezTo>
                <a:cubicBezTo>
                  <a:pt x="22" y="30"/>
                  <a:pt x="22" y="30"/>
                  <a:pt x="22" y="30"/>
                </a:cubicBezTo>
                <a:cubicBezTo>
                  <a:pt x="22" y="30"/>
                  <a:pt x="13" y="43"/>
                  <a:pt x="12" y="44"/>
                </a:cubicBezTo>
                <a:cubicBezTo>
                  <a:pt x="12" y="45"/>
                  <a:pt x="12" y="52"/>
                  <a:pt x="10" y="55"/>
                </a:cubicBezTo>
                <a:cubicBezTo>
                  <a:pt x="9" y="57"/>
                  <a:pt x="2" y="69"/>
                  <a:pt x="1" y="70"/>
                </a:cubicBezTo>
                <a:cubicBezTo>
                  <a:pt x="0" y="71"/>
                  <a:pt x="2" y="75"/>
                  <a:pt x="3" y="78"/>
                </a:cubicBezTo>
                <a:cubicBezTo>
                  <a:pt x="5" y="81"/>
                  <a:pt x="7" y="82"/>
                  <a:pt x="9" y="82"/>
                </a:cubicBezTo>
                <a:cubicBezTo>
                  <a:pt x="12" y="83"/>
                  <a:pt x="18" y="84"/>
                  <a:pt x="19" y="84"/>
                </a:cubicBezTo>
                <a:cubicBezTo>
                  <a:pt x="20" y="85"/>
                  <a:pt x="24" y="83"/>
                  <a:pt x="25" y="82"/>
                </a:cubicBezTo>
                <a:cubicBezTo>
                  <a:pt x="26" y="81"/>
                  <a:pt x="29" y="72"/>
                  <a:pt x="33" y="69"/>
                </a:cubicBezTo>
                <a:cubicBezTo>
                  <a:pt x="37" y="66"/>
                  <a:pt x="43" y="65"/>
                  <a:pt x="47" y="64"/>
                </a:cubicBezTo>
                <a:cubicBezTo>
                  <a:pt x="48" y="68"/>
                  <a:pt x="49" y="82"/>
                  <a:pt x="44" y="90"/>
                </a:cubicBezTo>
                <a:cubicBezTo>
                  <a:pt x="36" y="103"/>
                  <a:pt x="23" y="117"/>
                  <a:pt x="20" y="123"/>
                </a:cubicBezTo>
                <a:cubicBezTo>
                  <a:pt x="20" y="123"/>
                  <a:pt x="20" y="123"/>
                  <a:pt x="20" y="124"/>
                </a:cubicBezTo>
                <a:cubicBezTo>
                  <a:pt x="17" y="129"/>
                  <a:pt x="18" y="133"/>
                  <a:pt x="18" y="133"/>
                </a:cubicBezTo>
                <a:cubicBezTo>
                  <a:pt x="18" y="133"/>
                  <a:pt x="21" y="134"/>
                  <a:pt x="23" y="135"/>
                </a:cubicBezTo>
                <a:cubicBezTo>
                  <a:pt x="24" y="136"/>
                  <a:pt x="25" y="136"/>
                  <a:pt x="25" y="137"/>
                </a:cubicBezTo>
                <a:cubicBezTo>
                  <a:pt x="25" y="137"/>
                  <a:pt x="25" y="137"/>
                  <a:pt x="25" y="137"/>
                </a:cubicBezTo>
                <a:cubicBezTo>
                  <a:pt x="26" y="137"/>
                  <a:pt x="27" y="138"/>
                  <a:pt x="27" y="139"/>
                </a:cubicBezTo>
                <a:cubicBezTo>
                  <a:pt x="27" y="139"/>
                  <a:pt x="27" y="139"/>
                  <a:pt x="27" y="139"/>
                </a:cubicBezTo>
                <a:cubicBezTo>
                  <a:pt x="28" y="139"/>
                  <a:pt x="28" y="140"/>
                  <a:pt x="28" y="140"/>
                </a:cubicBezTo>
                <a:cubicBezTo>
                  <a:pt x="29" y="140"/>
                  <a:pt x="29" y="140"/>
                  <a:pt x="29" y="141"/>
                </a:cubicBezTo>
                <a:cubicBezTo>
                  <a:pt x="29" y="141"/>
                  <a:pt x="29" y="142"/>
                  <a:pt x="30" y="142"/>
                </a:cubicBezTo>
                <a:cubicBezTo>
                  <a:pt x="30" y="142"/>
                  <a:pt x="30" y="142"/>
                  <a:pt x="30" y="142"/>
                </a:cubicBezTo>
                <a:cubicBezTo>
                  <a:pt x="27" y="142"/>
                  <a:pt x="25" y="142"/>
                  <a:pt x="24" y="142"/>
                </a:cubicBezTo>
                <a:cubicBezTo>
                  <a:pt x="23" y="142"/>
                  <a:pt x="23" y="142"/>
                  <a:pt x="23" y="142"/>
                </a:cubicBezTo>
                <a:cubicBezTo>
                  <a:pt x="20" y="142"/>
                  <a:pt x="17" y="143"/>
                  <a:pt x="15" y="145"/>
                </a:cubicBezTo>
                <a:cubicBezTo>
                  <a:pt x="12" y="146"/>
                  <a:pt x="11" y="149"/>
                  <a:pt x="11" y="150"/>
                </a:cubicBezTo>
                <a:cubicBezTo>
                  <a:pt x="11" y="152"/>
                  <a:pt x="12" y="154"/>
                  <a:pt x="13" y="154"/>
                </a:cubicBezTo>
                <a:cubicBezTo>
                  <a:pt x="13" y="154"/>
                  <a:pt x="13" y="154"/>
                  <a:pt x="13" y="154"/>
                </a:cubicBezTo>
                <a:cubicBezTo>
                  <a:pt x="14" y="155"/>
                  <a:pt x="15" y="155"/>
                  <a:pt x="16" y="155"/>
                </a:cubicBezTo>
                <a:cubicBezTo>
                  <a:pt x="16" y="155"/>
                  <a:pt x="16" y="155"/>
                  <a:pt x="16" y="155"/>
                </a:cubicBezTo>
                <a:cubicBezTo>
                  <a:pt x="16" y="155"/>
                  <a:pt x="16" y="155"/>
                  <a:pt x="16" y="155"/>
                </a:cubicBezTo>
                <a:cubicBezTo>
                  <a:pt x="16" y="155"/>
                  <a:pt x="18" y="155"/>
                  <a:pt x="20" y="155"/>
                </a:cubicBezTo>
                <a:cubicBezTo>
                  <a:pt x="23" y="157"/>
                  <a:pt x="26" y="161"/>
                  <a:pt x="26" y="165"/>
                </a:cubicBezTo>
                <a:cubicBezTo>
                  <a:pt x="26" y="170"/>
                  <a:pt x="23" y="174"/>
                  <a:pt x="20" y="177"/>
                </a:cubicBezTo>
                <a:cubicBezTo>
                  <a:pt x="20" y="177"/>
                  <a:pt x="20" y="177"/>
                  <a:pt x="20" y="177"/>
                </a:cubicBezTo>
                <a:cubicBezTo>
                  <a:pt x="20" y="177"/>
                  <a:pt x="20" y="177"/>
                  <a:pt x="20" y="177"/>
                </a:cubicBezTo>
                <a:cubicBezTo>
                  <a:pt x="14" y="177"/>
                  <a:pt x="9" y="182"/>
                  <a:pt x="9" y="185"/>
                </a:cubicBezTo>
                <a:cubicBezTo>
                  <a:pt x="9" y="186"/>
                  <a:pt x="9" y="187"/>
                  <a:pt x="9" y="187"/>
                </a:cubicBezTo>
                <a:cubicBezTo>
                  <a:pt x="10" y="187"/>
                  <a:pt x="10" y="188"/>
                  <a:pt x="10" y="188"/>
                </a:cubicBezTo>
                <a:cubicBezTo>
                  <a:pt x="9" y="188"/>
                  <a:pt x="8" y="189"/>
                  <a:pt x="7" y="189"/>
                </a:cubicBezTo>
                <a:cubicBezTo>
                  <a:pt x="6" y="189"/>
                  <a:pt x="6" y="189"/>
                  <a:pt x="6" y="189"/>
                </a:cubicBezTo>
                <a:cubicBezTo>
                  <a:pt x="6" y="190"/>
                  <a:pt x="6" y="190"/>
                  <a:pt x="6" y="190"/>
                </a:cubicBezTo>
                <a:cubicBezTo>
                  <a:pt x="6" y="190"/>
                  <a:pt x="6" y="190"/>
                  <a:pt x="6" y="190"/>
                </a:cubicBezTo>
                <a:cubicBezTo>
                  <a:pt x="6" y="190"/>
                  <a:pt x="5" y="190"/>
                  <a:pt x="5" y="190"/>
                </a:cubicBezTo>
                <a:cubicBezTo>
                  <a:pt x="5" y="190"/>
                  <a:pt x="5" y="190"/>
                  <a:pt x="5" y="190"/>
                </a:cubicBezTo>
                <a:cubicBezTo>
                  <a:pt x="5" y="190"/>
                  <a:pt x="5" y="191"/>
                  <a:pt x="4" y="191"/>
                </a:cubicBezTo>
                <a:cubicBezTo>
                  <a:pt x="4" y="191"/>
                  <a:pt x="4" y="191"/>
                  <a:pt x="4" y="191"/>
                </a:cubicBezTo>
                <a:cubicBezTo>
                  <a:pt x="4" y="191"/>
                  <a:pt x="4" y="191"/>
                  <a:pt x="4" y="191"/>
                </a:cubicBezTo>
                <a:cubicBezTo>
                  <a:pt x="3" y="192"/>
                  <a:pt x="3" y="192"/>
                  <a:pt x="3" y="192"/>
                </a:cubicBezTo>
                <a:cubicBezTo>
                  <a:pt x="3" y="192"/>
                  <a:pt x="3" y="192"/>
                  <a:pt x="3" y="193"/>
                </a:cubicBezTo>
                <a:cubicBezTo>
                  <a:pt x="3" y="193"/>
                  <a:pt x="3" y="193"/>
                  <a:pt x="2" y="193"/>
                </a:cubicBezTo>
                <a:cubicBezTo>
                  <a:pt x="2" y="193"/>
                  <a:pt x="2" y="193"/>
                  <a:pt x="2" y="193"/>
                </a:cubicBezTo>
                <a:cubicBezTo>
                  <a:pt x="2" y="193"/>
                  <a:pt x="2" y="194"/>
                  <a:pt x="2" y="194"/>
                </a:cubicBezTo>
                <a:cubicBezTo>
                  <a:pt x="2" y="194"/>
                  <a:pt x="2" y="194"/>
                  <a:pt x="2" y="194"/>
                </a:cubicBezTo>
                <a:cubicBezTo>
                  <a:pt x="2" y="194"/>
                  <a:pt x="2" y="194"/>
                  <a:pt x="2" y="195"/>
                </a:cubicBezTo>
                <a:cubicBezTo>
                  <a:pt x="2" y="195"/>
                  <a:pt x="2" y="195"/>
                  <a:pt x="2" y="195"/>
                </a:cubicBezTo>
                <a:cubicBezTo>
                  <a:pt x="1" y="195"/>
                  <a:pt x="1" y="196"/>
                  <a:pt x="1" y="196"/>
                </a:cubicBezTo>
                <a:cubicBezTo>
                  <a:pt x="1" y="196"/>
                  <a:pt x="2" y="197"/>
                  <a:pt x="2" y="197"/>
                </a:cubicBezTo>
                <a:cubicBezTo>
                  <a:pt x="2" y="197"/>
                  <a:pt x="2" y="198"/>
                  <a:pt x="2" y="198"/>
                </a:cubicBezTo>
                <a:cubicBezTo>
                  <a:pt x="2" y="198"/>
                  <a:pt x="2" y="198"/>
                  <a:pt x="2" y="198"/>
                </a:cubicBezTo>
                <a:cubicBezTo>
                  <a:pt x="2" y="198"/>
                  <a:pt x="2" y="198"/>
                  <a:pt x="2" y="199"/>
                </a:cubicBezTo>
                <a:cubicBezTo>
                  <a:pt x="2" y="199"/>
                  <a:pt x="2" y="199"/>
                  <a:pt x="2" y="199"/>
                </a:cubicBezTo>
                <a:cubicBezTo>
                  <a:pt x="3" y="199"/>
                  <a:pt x="3" y="199"/>
                  <a:pt x="3" y="200"/>
                </a:cubicBezTo>
                <a:cubicBezTo>
                  <a:pt x="3" y="200"/>
                  <a:pt x="3" y="200"/>
                  <a:pt x="3" y="200"/>
                </a:cubicBezTo>
                <a:cubicBezTo>
                  <a:pt x="3" y="200"/>
                  <a:pt x="3" y="200"/>
                  <a:pt x="3" y="200"/>
                </a:cubicBezTo>
                <a:cubicBezTo>
                  <a:pt x="4" y="201"/>
                  <a:pt x="5" y="201"/>
                  <a:pt x="6" y="201"/>
                </a:cubicBezTo>
                <a:cubicBezTo>
                  <a:pt x="6" y="201"/>
                  <a:pt x="6" y="201"/>
                  <a:pt x="6" y="201"/>
                </a:cubicBezTo>
                <a:cubicBezTo>
                  <a:pt x="7" y="201"/>
                  <a:pt x="28" y="201"/>
                  <a:pt x="52" y="201"/>
                </a:cubicBezTo>
                <a:cubicBezTo>
                  <a:pt x="87" y="201"/>
                  <a:pt x="130" y="201"/>
                  <a:pt x="131" y="201"/>
                </a:cubicBezTo>
                <a:cubicBezTo>
                  <a:pt x="133" y="201"/>
                  <a:pt x="136" y="200"/>
                  <a:pt x="136" y="196"/>
                </a:cubicBezTo>
                <a:cubicBezTo>
                  <a:pt x="136" y="193"/>
                  <a:pt x="133" y="189"/>
                  <a:pt x="128" y="18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60" name="Freeform 5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EditPoints="1"/>
          </p:cNvSpPr>
          <p:nvPr/>
        </p:nvSpPr>
        <p:spPr bwMode="auto">
          <a:xfrm>
            <a:off x="4735536" y="1806809"/>
            <a:ext cx="662264" cy="857160"/>
          </a:xfrm>
          <a:custGeom>
            <a:avLst/>
            <a:gdLst>
              <a:gd name="T0" fmla="*/ 130 w 148"/>
              <a:gd name="T1" fmla="*/ 112 h 191"/>
              <a:gd name="T2" fmla="*/ 148 w 148"/>
              <a:gd name="T3" fmla="*/ 67 h 191"/>
              <a:gd name="T4" fmla="*/ 82 w 148"/>
              <a:gd name="T5" fmla="*/ 0 h 191"/>
              <a:gd name="T6" fmla="*/ 45 w 148"/>
              <a:gd name="T7" fmla="*/ 12 h 191"/>
              <a:gd name="T8" fmla="*/ 44 w 148"/>
              <a:gd name="T9" fmla="*/ 12 h 191"/>
              <a:gd name="T10" fmla="*/ 43 w 148"/>
              <a:gd name="T11" fmla="*/ 13 h 191"/>
              <a:gd name="T12" fmla="*/ 28 w 148"/>
              <a:gd name="T13" fmla="*/ 28 h 191"/>
              <a:gd name="T14" fmla="*/ 17 w 148"/>
              <a:gd name="T15" fmla="*/ 53 h 191"/>
              <a:gd name="T16" fmla="*/ 20 w 148"/>
              <a:gd name="T17" fmla="*/ 74 h 191"/>
              <a:gd name="T18" fmla="*/ 2 w 148"/>
              <a:gd name="T19" fmla="*/ 101 h 191"/>
              <a:gd name="T20" fmla="*/ 7 w 148"/>
              <a:gd name="T21" fmla="*/ 110 h 191"/>
              <a:gd name="T22" fmla="*/ 18 w 148"/>
              <a:gd name="T23" fmla="*/ 110 h 191"/>
              <a:gd name="T24" fmla="*/ 19 w 148"/>
              <a:gd name="T25" fmla="*/ 118 h 191"/>
              <a:gd name="T26" fmla="*/ 22 w 148"/>
              <a:gd name="T27" fmla="*/ 122 h 191"/>
              <a:gd name="T28" fmla="*/ 20 w 148"/>
              <a:gd name="T29" fmla="*/ 129 h 191"/>
              <a:gd name="T30" fmla="*/ 25 w 148"/>
              <a:gd name="T31" fmla="*/ 133 h 191"/>
              <a:gd name="T32" fmla="*/ 35 w 148"/>
              <a:gd name="T33" fmla="*/ 152 h 191"/>
              <a:gd name="T34" fmla="*/ 44 w 148"/>
              <a:gd name="T35" fmla="*/ 151 h 191"/>
              <a:gd name="T36" fmla="*/ 51 w 148"/>
              <a:gd name="T37" fmla="*/ 150 h 191"/>
              <a:gd name="T38" fmla="*/ 60 w 148"/>
              <a:gd name="T39" fmla="*/ 159 h 191"/>
              <a:gd name="T40" fmla="*/ 58 w 148"/>
              <a:gd name="T41" fmla="*/ 171 h 191"/>
              <a:gd name="T42" fmla="*/ 49 w 148"/>
              <a:gd name="T43" fmla="*/ 191 h 191"/>
              <a:gd name="T44" fmla="*/ 89 w 148"/>
              <a:gd name="T45" fmla="*/ 171 h 191"/>
              <a:gd name="T46" fmla="*/ 131 w 148"/>
              <a:gd name="T47" fmla="*/ 163 h 191"/>
              <a:gd name="T48" fmla="*/ 130 w 148"/>
              <a:gd name="T49" fmla="*/ 112 h 191"/>
              <a:gd name="T50" fmla="*/ 104 w 148"/>
              <a:gd name="T51" fmla="*/ 76 h 191"/>
              <a:gd name="T52" fmla="*/ 101 w 148"/>
              <a:gd name="T53" fmla="*/ 72 h 191"/>
              <a:gd name="T54" fmla="*/ 70 w 148"/>
              <a:gd name="T55" fmla="*/ 114 h 191"/>
              <a:gd name="T56" fmla="*/ 76 w 148"/>
              <a:gd name="T57" fmla="*/ 78 h 191"/>
              <a:gd name="T58" fmla="*/ 63 w 148"/>
              <a:gd name="T59" fmla="*/ 78 h 191"/>
              <a:gd name="T60" fmla="*/ 68 w 148"/>
              <a:gd name="T61" fmla="*/ 59 h 191"/>
              <a:gd name="T62" fmla="*/ 62 w 148"/>
              <a:gd name="T63" fmla="*/ 59 h 191"/>
              <a:gd name="T64" fmla="*/ 49 w 148"/>
              <a:gd name="T65" fmla="*/ 22 h 191"/>
              <a:gd name="T66" fmla="*/ 49 w 148"/>
              <a:gd name="T67" fmla="*/ 21 h 191"/>
              <a:gd name="T68" fmla="*/ 49 w 148"/>
              <a:gd name="T69" fmla="*/ 21 h 191"/>
              <a:gd name="T70" fmla="*/ 49 w 148"/>
              <a:gd name="T71" fmla="*/ 21 h 191"/>
              <a:gd name="T72" fmla="*/ 50 w 148"/>
              <a:gd name="T73" fmla="*/ 21 h 191"/>
              <a:gd name="T74" fmla="*/ 82 w 148"/>
              <a:gd name="T75" fmla="*/ 11 h 191"/>
              <a:gd name="T76" fmla="*/ 135 w 148"/>
              <a:gd name="T77" fmla="*/ 48 h 191"/>
              <a:gd name="T78" fmla="*/ 135 w 148"/>
              <a:gd name="T79" fmla="*/ 70 h 191"/>
              <a:gd name="T80" fmla="*/ 104 w 148"/>
              <a:gd name="T81" fmla="*/ 76 h 191"/>
              <a:gd name="T82" fmla="*/ 90 w 148"/>
              <a:gd name="T83" fmla="*/ 61 h 191"/>
              <a:gd name="T84" fmla="*/ 103 w 148"/>
              <a:gd name="T85" fmla="*/ 61 h 191"/>
              <a:gd name="T86" fmla="*/ 75 w 148"/>
              <a:gd name="T87" fmla="*/ 102 h 191"/>
              <a:gd name="T88" fmla="*/ 81 w 148"/>
              <a:gd name="T89" fmla="*/ 74 h 191"/>
              <a:gd name="T90" fmla="*/ 68 w 148"/>
              <a:gd name="T91" fmla="*/ 74 h 191"/>
              <a:gd name="T92" fmla="*/ 76 w 148"/>
              <a:gd name="T93" fmla="*/ 40 h 191"/>
              <a:gd name="T94" fmla="*/ 97 w 148"/>
              <a:gd name="T95" fmla="*/ 40 h 191"/>
              <a:gd name="T96" fmla="*/ 90 w 148"/>
              <a:gd name="T97" fmla="*/ 61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48" h="191">
                <a:moveTo>
                  <a:pt x="130" y="112"/>
                </a:moveTo>
                <a:cubicBezTo>
                  <a:pt x="142" y="92"/>
                  <a:pt x="148" y="84"/>
                  <a:pt x="148" y="67"/>
                </a:cubicBezTo>
                <a:cubicBezTo>
                  <a:pt x="148" y="30"/>
                  <a:pt x="118" y="0"/>
                  <a:pt x="82" y="0"/>
                </a:cubicBezTo>
                <a:cubicBezTo>
                  <a:pt x="68" y="0"/>
                  <a:pt x="55" y="5"/>
                  <a:pt x="45" y="12"/>
                </a:cubicBezTo>
                <a:cubicBezTo>
                  <a:pt x="44" y="12"/>
                  <a:pt x="44" y="12"/>
                  <a:pt x="44" y="12"/>
                </a:cubicBezTo>
                <a:cubicBezTo>
                  <a:pt x="44" y="12"/>
                  <a:pt x="44" y="12"/>
                  <a:pt x="43" y="13"/>
                </a:cubicBezTo>
                <a:cubicBezTo>
                  <a:pt x="37" y="17"/>
                  <a:pt x="32" y="22"/>
                  <a:pt x="28" y="28"/>
                </a:cubicBezTo>
                <a:cubicBezTo>
                  <a:pt x="23" y="35"/>
                  <a:pt x="19" y="44"/>
                  <a:pt x="17" y="53"/>
                </a:cubicBezTo>
                <a:cubicBezTo>
                  <a:pt x="14" y="68"/>
                  <a:pt x="20" y="68"/>
                  <a:pt x="20" y="74"/>
                </a:cubicBezTo>
                <a:cubicBezTo>
                  <a:pt x="20" y="79"/>
                  <a:pt x="11" y="89"/>
                  <a:pt x="2" y="101"/>
                </a:cubicBezTo>
                <a:cubicBezTo>
                  <a:pt x="0" y="104"/>
                  <a:pt x="1" y="110"/>
                  <a:pt x="7" y="110"/>
                </a:cubicBezTo>
                <a:cubicBezTo>
                  <a:pt x="18" y="110"/>
                  <a:pt x="18" y="110"/>
                  <a:pt x="18" y="110"/>
                </a:cubicBezTo>
                <a:cubicBezTo>
                  <a:pt x="25" y="110"/>
                  <a:pt x="20" y="117"/>
                  <a:pt x="19" y="118"/>
                </a:cubicBezTo>
                <a:cubicBezTo>
                  <a:pt x="19" y="119"/>
                  <a:pt x="22" y="122"/>
                  <a:pt x="22" y="122"/>
                </a:cubicBezTo>
                <a:cubicBezTo>
                  <a:pt x="22" y="122"/>
                  <a:pt x="18" y="126"/>
                  <a:pt x="20" y="129"/>
                </a:cubicBezTo>
                <a:cubicBezTo>
                  <a:pt x="20" y="130"/>
                  <a:pt x="26" y="129"/>
                  <a:pt x="25" y="133"/>
                </a:cubicBezTo>
                <a:cubicBezTo>
                  <a:pt x="21" y="150"/>
                  <a:pt x="30" y="152"/>
                  <a:pt x="35" y="152"/>
                </a:cubicBezTo>
                <a:cubicBezTo>
                  <a:pt x="38" y="152"/>
                  <a:pt x="41" y="152"/>
                  <a:pt x="44" y="151"/>
                </a:cubicBezTo>
                <a:cubicBezTo>
                  <a:pt x="46" y="150"/>
                  <a:pt x="49" y="150"/>
                  <a:pt x="51" y="150"/>
                </a:cubicBezTo>
                <a:cubicBezTo>
                  <a:pt x="57" y="150"/>
                  <a:pt x="61" y="153"/>
                  <a:pt x="60" y="159"/>
                </a:cubicBezTo>
                <a:cubicBezTo>
                  <a:pt x="58" y="164"/>
                  <a:pt x="58" y="167"/>
                  <a:pt x="58" y="171"/>
                </a:cubicBezTo>
                <a:cubicBezTo>
                  <a:pt x="57" y="175"/>
                  <a:pt x="49" y="191"/>
                  <a:pt x="49" y="191"/>
                </a:cubicBezTo>
                <a:cubicBezTo>
                  <a:pt x="49" y="191"/>
                  <a:pt x="62" y="182"/>
                  <a:pt x="89" y="171"/>
                </a:cubicBezTo>
                <a:cubicBezTo>
                  <a:pt x="115" y="159"/>
                  <a:pt x="131" y="163"/>
                  <a:pt x="131" y="163"/>
                </a:cubicBezTo>
                <a:cubicBezTo>
                  <a:pt x="131" y="163"/>
                  <a:pt x="118" y="132"/>
                  <a:pt x="130" y="112"/>
                </a:cubicBezTo>
                <a:close/>
                <a:moveTo>
                  <a:pt x="104" y="76"/>
                </a:moveTo>
                <a:cubicBezTo>
                  <a:pt x="103" y="75"/>
                  <a:pt x="102" y="73"/>
                  <a:pt x="101" y="72"/>
                </a:cubicBezTo>
                <a:cubicBezTo>
                  <a:pt x="70" y="114"/>
                  <a:pt x="70" y="114"/>
                  <a:pt x="70" y="114"/>
                </a:cubicBezTo>
                <a:cubicBezTo>
                  <a:pt x="76" y="78"/>
                  <a:pt x="76" y="78"/>
                  <a:pt x="76" y="78"/>
                </a:cubicBezTo>
                <a:cubicBezTo>
                  <a:pt x="63" y="78"/>
                  <a:pt x="63" y="78"/>
                  <a:pt x="63" y="78"/>
                </a:cubicBezTo>
                <a:cubicBezTo>
                  <a:pt x="68" y="59"/>
                  <a:pt x="68" y="59"/>
                  <a:pt x="68" y="59"/>
                </a:cubicBezTo>
                <a:cubicBezTo>
                  <a:pt x="66" y="59"/>
                  <a:pt x="64" y="59"/>
                  <a:pt x="62" y="59"/>
                </a:cubicBezTo>
                <a:cubicBezTo>
                  <a:pt x="37" y="62"/>
                  <a:pt x="30" y="36"/>
                  <a:pt x="49" y="22"/>
                </a:cubicBezTo>
                <a:cubicBezTo>
                  <a:pt x="49" y="21"/>
                  <a:pt x="49" y="21"/>
                  <a:pt x="49" y="21"/>
                </a:cubicBezTo>
                <a:cubicBezTo>
                  <a:pt x="49" y="21"/>
                  <a:pt x="49" y="21"/>
                  <a:pt x="49" y="21"/>
                </a:cubicBezTo>
                <a:cubicBezTo>
                  <a:pt x="49" y="21"/>
                  <a:pt x="49" y="21"/>
                  <a:pt x="49" y="21"/>
                </a:cubicBezTo>
                <a:cubicBezTo>
                  <a:pt x="50" y="21"/>
                  <a:pt x="50" y="21"/>
                  <a:pt x="50" y="21"/>
                </a:cubicBezTo>
                <a:cubicBezTo>
                  <a:pt x="59" y="14"/>
                  <a:pt x="70" y="11"/>
                  <a:pt x="82" y="11"/>
                </a:cubicBezTo>
                <a:cubicBezTo>
                  <a:pt x="106" y="11"/>
                  <a:pt x="127" y="26"/>
                  <a:pt x="135" y="48"/>
                </a:cubicBezTo>
                <a:cubicBezTo>
                  <a:pt x="138" y="57"/>
                  <a:pt x="138" y="63"/>
                  <a:pt x="135" y="70"/>
                </a:cubicBezTo>
                <a:cubicBezTo>
                  <a:pt x="130" y="82"/>
                  <a:pt x="108" y="83"/>
                  <a:pt x="104" y="76"/>
                </a:cubicBezTo>
                <a:close/>
                <a:moveTo>
                  <a:pt x="90" y="61"/>
                </a:moveTo>
                <a:cubicBezTo>
                  <a:pt x="103" y="61"/>
                  <a:pt x="103" y="61"/>
                  <a:pt x="103" y="61"/>
                </a:cubicBezTo>
                <a:cubicBezTo>
                  <a:pt x="75" y="102"/>
                  <a:pt x="75" y="102"/>
                  <a:pt x="75" y="102"/>
                </a:cubicBezTo>
                <a:cubicBezTo>
                  <a:pt x="81" y="74"/>
                  <a:pt x="81" y="74"/>
                  <a:pt x="81" y="74"/>
                </a:cubicBezTo>
                <a:cubicBezTo>
                  <a:pt x="68" y="74"/>
                  <a:pt x="68" y="74"/>
                  <a:pt x="68" y="74"/>
                </a:cubicBezTo>
                <a:cubicBezTo>
                  <a:pt x="76" y="40"/>
                  <a:pt x="76" y="40"/>
                  <a:pt x="76" y="40"/>
                </a:cubicBezTo>
                <a:cubicBezTo>
                  <a:pt x="97" y="40"/>
                  <a:pt x="97" y="40"/>
                  <a:pt x="97" y="40"/>
                </a:cubicBezTo>
                <a:lnTo>
                  <a:pt x="90" y="61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61" name="Freeform 6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EditPoints="1"/>
          </p:cNvSpPr>
          <p:nvPr/>
        </p:nvSpPr>
        <p:spPr bwMode="auto">
          <a:xfrm>
            <a:off x="4650541" y="3343117"/>
            <a:ext cx="917711" cy="868512"/>
          </a:xfrm>
          <a:custGeom>
            <a:avLst/>
            <a:gdLst>
              <a:gd name="T0" fmla="*/ 86 w 205"/>
              <a:gd name="T1" fmla="*/ 179 h 194"/>
              <a:gd name="T2" fmla="*/ 80 w 205"/>
              <a:gd name="T3" fmla="*/ 174 h 194"/>
              <a:gd name="T4" fmla="*/ 86 w 205"/>
              <a:gd name="T5" fmla="*/ 168 h 194"/>
              <a:gd name="T6" fmla="*/ 121 w 205"/>
              <a:gd name="T7" fmla="*/ 168 h 194"/>
              <a:gd name="T8" fmla="*/ 127 w 205"/>
              <a:gd name="T9" fmla="*/ 174 h 194"/>
              <a:gd name="T10" fmla="*/ 121 w 205"/>
              <a:gd name="T11" fmla="*/ 179 h 194"/>
              <a:gd name="T12" fmla="*/ 86 w 205"/>
              <a:gd name="T13" fmla="*/ 179 h 194"/>
              <a:gd name="T14" fmla="*/ 137 w 205"/>
              <a:gd name="T15" fmla="*/ 182 h 194"/>
              <a:gd name="T16" fmla="*/ 69 w 205"/>
              <a:gd name="T17" fmla="*/ 182 h 194"/>
              <a:gd name="T18" fmla="*/ 63 w 205"/>
              <a:gd name="T19" fmla="*/ 188 h 194"/>
              <a:gd name="T20" fmla="*/ 69 w 205"/>
              <a:gd name="T21" fmla="*/ 194 h 194"/>
              <a:gd name="T22" fmla="*/ 137 w 205"/>
              <a:gd name="T23" fmla="*/ 194 h 194"/>
              <a:gd name="T24" fmla="*/ 143 w 205"/>
              <a:gd name="T25" fmla="*/ 188 h 194"/>
              <a:gd name="T26" fmla="*/ 137 w 205"/>
              <a:gd name="T27" fmla="*/ 182 h 194"/>
              <a:gd name="T28" fmla="*/ 205 w 205"/>
              <a:gd name="T29" fmla="*/ 125 h 194"/>
              <a:gd name="T30" fmla="*/ 169 w 205"/>
              <a:gd name="T31" fmla="*/ 153 h 194"/>
              <a:gd name="T32" fmla="*/ 134 w 205"/>
              <a:gd name="T33" fmla="*/ 125 h 194"/>
              <a:gd name="T34" fmla="*/ 137 w 205"/>
              <a:gd name="T35" fmla="*/ 125 h 194"/>
              <a:gd name="T36" fmla="*/ 165 w 205"/>
              <a:gd name="T37" fmla="*/ 48 h 194"/>
              <a:gd name="T38" fmla="*/ 165 w 205"/>
              <a:gd name="T39" fmla="*/ 47 h 194"/>
              <a:gd name="T40" fmla="*/ 161 w 205"/>
              <a:gd name="T41" fmla="*/ 42 h 194"/>
              <a:gd name="T42" fmla="*/ 109 w 205"/>
              <a:gd name="T43" fmla="*/ 32 h 194"/>
              <a:gd name="T44" fmla="*/ 109 w 205"/>
              <a:gd name="T45" fmla="*/ 164 h 194"/>
              <a:gd name="T46" fmla="*/ 97 w 205"/>
              <a:gd name="T47" fmla="*/ 164 h 194"/>
              <a:gd name="T48" fmla="*/ 97 w 205"/>
              <a:gd name="T49" fmla="*/ 32 h 194"/>
              <a:gd name="T50" fmla="*/ 45 w 205"/>
              <a:gd name="T51" fmla="*/ 42 h 194"/>
              <a:gd name="T52" fmla="*/ 42 w 205"/>
              <a:gd name="T53" fmla="*/ 47 h 194"/>
              <a:gd name="T54" fmla="*/ 40 w 205"/>
              <a:gd name="T55" fmla="*/ 48 h 194"/>
              <a:gd name="T56" fmla="*/ 67 w 205"/>
              <a:gd name="T57" fmla="*/ 125 h 194"/>
              <a:gd name="T58" fmla="*/ 71 w 205"/>
              <a:gd name="T59" fmla="*/ 125 h 194"/>
              <a:gd name="T60" fmla="*/ 35 w 205"/>
              <a:gd name="T61" fmla="*/ 153 h 194"/>
              <a:gd name="T62" fmla="*/ 0 w 205"/>
              <a:gd name="T63" fmla="*/ 125 h 194"/>
              <a:gd name="T64" fmla="*/ 3 w 205"/>
              <a:gd name="T65" fmla="*/ 125 h 194"/>
              <a:gd name="T66" fmla="*/ 32 w 205"/>
              <a:gd name="T67" fmla="*/ 47 h 194"/>
              <a:gd name="T68" fmla="*/ 29 w 205"/>
              <a:gd name="T69" fmla="*/ 45 h 194"/>
              <a:gd name="T70" fmla="*/ 32 w 205"/>
              <a:gd name="T71" fmla="*/ 33 h 194"/>
              <a:gd name="T72" fmla="*/ 40 w 205"/>
              <a:gd name="T73" fmla="*/ 32 h 194"/>
              <a:gd name="T74" fmla="*/ 97 w 205"/>
              <a:gd name="T75" fmla="*/ 20 h 194"/>
              <a:gd name="T76" fmla="*/ 97 w 205"/>
              <a:gd name="T77" fmla="*/ 15 h 194"/>
              <a:gd name="T78" fmla="*/ 94 w 205"/>
              <a:gd name="T79" fmla="*/ 9 h 194"/>
              <a:gd name="T80" fmla="*/ 103 w 205"/>
              <a:gd name="T81" fmla="*/ 0 h 194"/>
              <a:gd name="T82" fmla="*/ 112 w 205"/>
              <a:gd name="T83" fmla="*/ 9 h 194"/>
              <a:gd name="T84" fmla="*/ 109 w 205"/>
              <a:gd name="T85" fmla="*/ 15 h 194"/>
              <a:gd name="T86" fmla="*/ 109 w 205"/>
              <a:gd name="T87" fmla="*/ 20 h 194"/>
              <a:gd name="T88" fmla="*/ 167 w 205"/>
              <a:gd name="T89" fmla="*/ 32 h 194"/>
              <a:gd name="T90" fmla="*/ 175 w 205"/>
              <a:gd name="T91" fmla="*/ 33 h 194"/>
              <a:gd name="T92" fmla="*/ 177 w 205"/>
              <a:gd name="T93" fmla="*/ 45 h 194"/>
              <a:gd name="T94" fmla="*/ 174 w 205"/>
              <a:gd name="T95" fmla="*/ 48 h 194"/>
              <a:gd name="T96" fmla="*/ 201 w 205"/>
              <a:gd name="T97" fmla="*/ 125 h 194"/>
              <a:gd name="T98" fmla="*/ 205 w 205"/>
              <a:gd name="T99" fmla="*/ 125 h 194"/>
              <a:gd name="T100" fmla="*/ 35 w 205"/>
              <a:gd name="T101" fmla="*/ 57 h 194"/>
              <a:gd name="T102" fmla="*/ 12 w 205"/>
              <a:gd name="T103" fmla="*/ 125 h 194"/>
              <a:gd name="T104" fmla="*/ 58 w 205"/>
              <a:gd name="T105" fmla="*/ 125 h 194"/>
              <a:gd name="T106" fmla="*/ 58 w 205"/>
              <a:gd name="T107" fmla="*/ 125 h 194"/>
              <a:gd name="T108" fmla="*/ 35 w 205"/>
              <a:gd name="T109" fmla="*/ 57 h 194"/>
              <a:gd name="T110" fmla="*/ 192 w 205"/>
              <a:gd name="T111" fmla="*/ 125 h 194"/>
              <a:gd name="T112" fmla="*/ 169 w 205"/>
              <a:gd name="T113" fmla="*/ 57 h 194"/>
              <a:gd name="T114" fmla="*/ 146 w 205"/>
              <a:gd name="T115" fmla="*/ 125 h 194"/>
              <a:gd name="T116" fmla="*/ 192 w 205"/>
              <a:gd name="T117" fmla="*/ 125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05" h="194">
                <a:moveTo>
                  <a:pt x="86" y="179"/>
                </a:moveTo>
                <a:cubicBezTo>
                  <a:pt x="82" y="179"/>
                  <a:pt x="80" y="177"/>
                  <a:pt x="80" y="174"/>
                </a:cubicBezTo>
                <a:cubicBezTo>
                  <a:pt x="80" y="170"/>
                  <a:pt x="82" y="168"/>
                  <a:pt x="86" y="168"/>
                </a:cubicBezTo>
                <a:cubicBezTo>
                  <a:pt x="121" y="168"/>
                  <a:pt x="121" y="168"/>
                  <a:pt x="121" y="168"/>
                </a:cubicBezTo>
                <a:cubicBezTo>
                  <a:pt x="124" y="168"/>
                  <a:pt x="127" y="170"/>
                  <a:pt x="127" y="174"/>
                </a:cubicBezTo>
                <a:cubicBezTo>
                  <a:pt x="127" y="177"/>
                  <a:pt x="124" y="179"/>
                  <a:pt x="121" y="179"/>
                </a:cubicBezTo>
                <a:lnTo>
                  <a:pt x="86" y="179"/>
                </a:lnTo>
                <a:close/>
                <a:moveTo>
                  <a:pt x="137" y="182"/>
                </a:moveTo>
                <a:cubicBezTo>
                  <a:pt x="69" y="182"/>
                  <a:pt x="69" y="182"/>
                  <a:pt x="69" y="182"/>
                </a:cubicBezTo>
                <a:cubicBezTo>
                  <a:pt x="66" y="182"/>
                  <a:pt x="63" y="185"/>
                  <a:pt x="63" y="188"/>
                </a:cubicBezTo>
                <a:cubicBezTo>
                  <a:pt x="63" y="191"/>
                  <a:pt x="66" y="194"/>
                  <a:pt x="69" y="194"/>
                </a:cubicBezTo>
                <a:cubicBezTo>
                  <a:pt x="137" y="194"/>
                  <a:pt x="137" y="194"/>
                  <a:pt x="137" y="194"/>
                </a:cubicBezTo>
                <a:cubicBezTo>
                  <a:pt x="141" y="194"/>
                  <a:pt x="143" y="191"/>
                  <a:pt x="143" y="188"/>
                </a:cubicBezTo>
                <a:cubicBezTo>
                  <a:pt x="143" y="185"/>
                  <a:pt x="141" y="182"/>
                  <a:pt x="137" y="182"/>
                </a:cubicBezTo>
                <a:close/>
                <a:moveTo>
                  <a:pt x="205" y="125"/>
                </a:moveTo>
                <a:cubicBezTo>
                  <a:pt x="205" y="140"/>
                  <a:pt x="189" y="153"/>
                  <a:pt x="169" y="153"/>
                </a:cubicBezTo>
                <a:cubicBezTo>
                  <a:pt x="150" y="153"/>
                  <a:pt x="134" y="140"/>
                  <a:pt x="134" y="125"/>
                </a:cubicBezTo>
                <a:cubicBezTo>
                  <a:pt x="137" y="125"/>
                  <a:pt x="137" y="125"/>
                  <a:pt x="137" y="125"/>
                </a:cubicBezTo>
                <a:cubicBezTo>
                  <a:pt x="165" y="48"/>
                  <a:pt x="165" y="48"/>
                  <a:pt x="165" y="48"/>
                </a:cubicBezTo>
                <a:cubicBezTo>
                  <a:pt x="165" y="48"/>
                  <a:pt x="165" y="47"/>
                  <a:pt x="165" y="47"/>
                </a:cubicBezTo>
                <a:cubicBezTo>
                  <a:pt x="163" y="46"/>
                  <a:pt x="162" y="44"/>
                  <a:pt x="161" y="42"/>
                </a:cubicBezTo>
                <a:cubicBezTo>
                  <a:pt x="148" y="36"/>
                  <a:pt x="129" y="33"/>
                  <a:pt x="109" y="32"/>
                </a:cubicBezTo>
                <a:cubicBezTo>
                  <a:pt x="109" y="164"/>
                  <a:pt x="109" y="164"/>
                  <a:pt x="109" y="164"/>
                </a:cubicBezTo>
                <a:cubicBezTo>
                  <a:pt x="97" y="164"/>
                  <a:pt x="97" y="164"/>
                  <a:pt x="97" y="164"/>
                </a:cubicBezTo>
                <a:cubicBezTo>
                  <a:pt x="97" y="32"/>
                  <a:pt x="97" y="32"/>
                  <a:pt x="97" y="32"/>
                </a:cubicBezTo>
                <a:cubicBezTo>
                  <a:pt x="77" y="33"/>
                  <a:pt x="58" y="36"/>
                  <a:pt x="45" y="42"/>
                </a:cubicBezTo>
                <a:cubicBezTo>
                  <a:pt x="45" y="44"/>
                  <a:pt x="44" y="46"/>
                  <a:pt x="42" y="47"/>
                </a:cubicBezTo>
                <a:cubicBezTo>
                  <a:pt x="41" y="48"/>
                  <a:pt x="40" y="48"/>
                  <a:pt x="40" y="48"/>
                </a:cubicBezTo>
                <a:cubicBezTo>
                  <a:pt x="67" y="125"/>
                  <a:pt x="67" y="125"/>
                  <a:pt x="67" y="125"/>
                </a:cubicBezTo>
                <a:cubicBezTo>
                  <a:pt x="71" y="125"/>
                  <a:pt x="71" y="125"/>
                  <a:pt x="71" y="125"/>
                </a:cubicBezTo>
                <a:cubicBezTo>
                  <a:pt x="71" y="140"/>
                  <a:pt x="55" y="153"/>
                  <a:pt x="35" y="153"/>
                </a:cubicBezTo>
                <a:cubicBezTo>
                  <a:pt x="16" y="153"/>
                  <a:pt x="0" y="140"/>
                  <a:pt x="0" y="125"/>
                </a:cubicBezTo>
                <a:cubicBezTo>
                  <a:pt x="3" y="125"/>
                  <a:pt x="3" y="125"/>
                  <a:pt x="3" y="125"/>
                </a:cubicBezTo>
                <a:cubicBezTo>
                  <a:pt x="32" y="47"/>
                  <a:pt x="32" y="47"/>
                  <a:pt x="32" y="47"/>
                </a:cubicBezTo>
                <a:cubicBezTo>
                  <a:pt x="31" y="47"/>
                  <a:pt x="30" y="46"/>
                  <a:pt x="29" y="45"/>
                </a:cubicBezTo>
                <a:cubicBezTo>
                  <a:pt x="27" y="41"/>
                  <a:pt x="28" y="35"/>
                  <a:pt x="32" y="33"/>
                </a:cubicBezTo>
                <a:cubicBezTo>
                  <a:pt x="34" y="31"/>
                  <a:pt x="37" y="31"/>
                  <a:pt x="40" y="32"/>
                </a:cubicBezTo>
                <a:cubicBezTo>
                  <a:pt x="54" y="25"/>
                  <a:pt x="75" y="21"/>
                  <a:pt x="97" y="20"/>
                </a:cubicBezTo>
                <a:cubicBezTo>
                  <a:pt x="97" y="15"/>
                  <a:pt x="97" y="15"/>
                  <a:pt x="97" y="15"/>
                </a:cubicBezTo>
                <a:cubicBezTo>
                  <a:pt x="95" y="14"/>
                  <a:pt x="94" y="11"/>
                  <a:pt x="94" y="9"/>
                </a:cubicBezTo>
                <a:cubicBezTo>
                  <a:pt x="94" y="4"/>
                  <a:pt x="98" y="0"/>
                  <a:pt x="103" y="0"/>
                </a:cubicBezTo>
                <a:cubicBezTo>
                  <a:pt x="108" y="0"/>
                  <a:pt x="112" y="4"/>
                  <a:pt x="112" y="9"/>
                </a:cubicBezTo>
                <a:cubicBezTo>
                  <a:pt x="112" y="11"/>
                  <a:pt x="111" y="14"/>
                  <a:pt x="109" y="15"/>
                </a:cubicBezTo>
                <a:cubicBezTo>
                  <a:pt x="109" y="20"/>
                  <a:pt x="109" y="20"/>
                  <a:pt x="109" y="20"/>
                </a:cubicBezTo>
                <a:cubicBezTo>
                  <a:pt x="131" y="21"/>
                  <a:pt x="152" y="25"/>
                  <a:pt x="167" y="32"/>
                </a:cubicBezTo>
                <a:cubicBezTo>
                  <a:pt x="169" y="31"/>
                  <a:pt x="172" y="31"/>
                  <a:pt x="175" y="33"/>
                </a:cubicBezTo>
                <a:cubicBezTo>
                  <a:pt x="179" y="35"/>
                  <a:pt x="180" y="41"/>
                  <a:pt x="177" y="45"/>
                </a:cubicBezTo>
                <a:cubicBezTo>
                  <a:pt x="176" y="46"/>
                  <a:pt x="175" y="47"/>
                  <a:pt x="174" y="48"/>
                </a:cubicBezTo>
                <a:cubicBezTo>
                  <a:pt x="201" y="125"/>
                  <a:pt x="201" y="125"/>
                  <a:pt x="201" y="125"/>
                </a:cubicBezTo>
                <a:lnTo>
                  <a:pt x="205" y="125"/>
                </a:lnTo>
                <a:close/>
                <a:moveTo>
                  <a:pt x="35" y="57"/>
                </a:moveTo>
                <a:cubicBezTo>
                  <a:pt x="12" y="125"/>
                  <a:pt x="12" y="125"/>
                  <a:pt x="12" y="125"/>
                </a:cubicBezTo>
                <a:cubicBezTo>
                  <a:pt x="58" y="125"/>
                  <a:pt x="58" y="125"/>
                  <a:pt x="58" y="125"/>
                </a:cubicBezTo>
                <a:cubicBezTo>
                  <a:pt x="58" y="125"/>
                  <a:pt x="58" y="125"/>
                  <a:pt x="58" y="125"/>
                </a:cubicBezTo>
                <a:lnTo>
                  <a:pt x="35" y="57"/>
                </a:lnTo>
                <a:close/>
                <a:moveTo>
                  <a:pt x="192" y="125"/>
                </a:moveTo>
                <a:cubicBezTo>
                  <a:pt x="169" y="57"/>
                  <a:pt x="169" y="57"/>
                  <a:pt x="169" y="57"/>
                </a:cubicBezTo>
                <a:cubicBezTo>
                  <a:pt x="146" y="125"/>
                  <a:pt x="146" y="125"/>
                  <a:pt x="146" y="125"/>
                </a:cubicBezTo>
                <a:cubicBezTo>
                  <a:pt x="192" y="125"/>
                  <a:pt x="192" y="125"/>
                  <a:pt x="192" y="125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62" name="Freeform 6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EditPoints="1"/>
          </p:cNvSpPr>
          <p:nvPr/>
        </p:nvSpPr>
        <p:spPr bwMode="auto">
          <a:xfrm>
            <a:off x="10367407" y="4967641"/>
            <a:ext cx="747413" cy="789041"/>
          </a:xfrm>
          <a:custGeom>
            <a:avLst/>
            <a:gdLst>
              <a:gd name="T0" fmla="*/ 0 w 395"/>
              <a:gd name="T1" fmla="*/ 303 h 417"/>
              <a:gd name="T2" fmla="*/ 86 w 395"/>
              <a:gd name="T3" fmla="*/ 303 h 417"/>
              <a:gd name="T4" fmla="*/ 86 w 395"/>
              <a:gd name="T5" fmla="*/ 417 h 417"/>
              <a:gd name="T6" fmla="*/ 0 w 395"/>
              <a:gd name="T7" fmla="*/ 417 h 417"/>
              <a:gd name="T8" fmla="*/ 0 w 395"/>
              <a:gd name="T9" fmla="*/ 303 h 417"/>
              <a:gd name="T10" fmla="*/ 156 w 395"/>
              <a:gd name="T11" fmla="*/ 417 h 417"/>
              <a:gd name="T12" fmla="*/ 241 w 395"/>
              <a:gd name="T13" fmla="*/ 417 h 417"/>
              <a:gd name="T14" fmla="*/ 241 w 395"/>
              <a:gd name="T15" fmla="*/ 247 h 417"/>
              <a:gd name="T16" fmla="*/ 156 w 395"/>
              <a:gd name="T17" fmla="*/ 247 h 417"/>
              <a:gd name="T18" fmla="*/ 156 w 395"/>
              <a:gd name="T19" fmla="*/ 417 h 417"/>
              <a:gd name="T20" fmla="*/ 310 w 395"/>
              <a:gd name="T21" fmla="*/ 152 h 417"/>
              <a:gd name="T22" fmla="*/ 310 w 395"/>
              <a:gd name="T23" fmla="*/ 417 h 417"/>
              <a:gd name="T24" fmla="*/ 395 w 395"/>
              <a:gd name="T25" fmla="*/ 417 h 417"/>
              <a:gd name="T26" fmla="*/ 395 w 395"/>
              <a:gd name="T27" fmla="*/ 152 h 417"/>
              <a:gd name="T28" fmla="*/ 310 w 395"/>
              <a:gd name="T29" fmla="*/ 152 h 417"/>
              <a:gd name="T30" fmla="*/ 319 w 395"/>
              <a:gd name="T31" fmla="*/ 62 h 417"/>
              <a:gd name="T32" fmla="*/ 338 w 395"/>
              <a:gd name="T33" fmla="*/ 83 h 417"/>
              <a:gd name="T34" fmla="*/ 360 w 395"/>
              <a:gd name="T35" fmla="*/ 0 h 417"/>
              <a:gd name="T36" fmla="*/ 279 w 395"/>
              <a:gd name="T37" fmla="*/ 22 h 417"/>
              <a:gd name="T38" fmla="*/ 298 w 395"/>
              <a:gd name="T39" fmla="*/ 43 h 417"/>
              <a:gd name="T40" fmla="*/ 190 w 395"/>
              <a:gd name="T41" fmla="*/ 152 h 417"/>
              <a:gd name="T42" fmla="*/ 119 w 395"/>
              <a:gd name="T43" fmla="*/ 83 h 417"/>
              <a:gd name="T44" fmla="*/ 12 w 395"/>
              <a:gd name="T45" fmla="*/ 190 h 417"/>
              <a:gd name="T46" fmla="*/ 34 w 395"/>
              <a:gd name="T47" fmla="*/ 209 h 417"/>
              <a:gd name="T48" fmla="*/ 119 w 395"/>
              <a:gd name="T49" fmla="*/ 123 h 417"/>
              <a:gd name="T50" fmla="*/ 190 w 395"/>
              <a:gd name="T51" fmla="*/ 192 h 417"/>
              <a:gd name="T52" fmla="*/ 319 w 395"/>
              <a:gd name="T53" fmla="*/ 62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95" h="417">
                <a:moveTo>
                  <a:pt x="0" y="303"/>
                </a:moveTo>
                <a:lnTo>
                  <a:pt x="86" y="303"/>
                </a:lnTo>
                <a:lnTo>
                  <a:pt x="86" y="417"/>
                </a:lnTo>
                <a:lnTo>
                  <a:pt x="0" y="417"/>
                </a:lnTo>
                <a:lnTo>
                  <a:pt x="0" y="303"/>
                </a:lnTo>
                <a:close/>
                <a:moveTo>
                  <a:pt x="156" y="417"/>
                </a:moveTo>
                <a:lnTo>
                  <a:pt x="241" y="417"/>
                </a:lnTo>
                <a:lnTo>
                  <a:pt x="241" y="247"/>
                </a:lnTo>
                <a:lnTo>
                  <a:pt x="156" y="247"/>
                </a:lnTo>
                <a:lnTo>
                  <a:pt x="156" y="417"/>
                </a:lnTo>
                <a:close/>
                <a:moveTo>
                  <a:pt x="310" y="152"/>
                </a:moveTo>
                <a:lnTo>
                  <a:pt x="310" y="417"/>
                </a:lnTo>
                <a:lnTo>
                  <a:pt x="395" y="417"/>
                </a:lnTo>
                <a:lnTo>
                  <a:pt x="395" y="152"/>
                </a:lnTo>
                <a:lnTo>
                  <a:pt x="310" y="152"/>
                </a:lnTo>
                <a:close/>
                <a:moveTo>
                  <a:pt x="319" y="62"/>
                </a:moveTo>
                <a:lnTo>
                  <a:pt x="338" y="83"/>
                </a:lnTo>
                <a:lnTo>
                  <a:pt x="360" y="0"/>
                </a:lnTo>
                <a:lnTo>
                  <a:pt x="279" y="22"/>
                </a:lnTo>
                <a:lnTo>
                  <a:pt x="298" y="43"/>
                </a:lnTo>
                <a:lnTo>
                  <a:pt x="190" y="152"/>
                </a:lnTo>
                <a:lnTo>
                  <a:pt x="119" y="83"/>
                </a:lnTo>
                <a:lnTo>
                  <a:pt x="12" y="190"/>
                </a:lnTo>
                <a:lnTo>
                  <a:pt x="34" y="209"/>
                </a:lnTo>
                <a:lnTo>
                  <a:pt x="119" y="123"/>
                </a:lnTo>
                <a:lnTo>
                  <a:pt x="190" y="192"/>
                </a:lnTo>
                <a:lnTo>
                  <a:pt x="319" y="6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63" name="Freeform 6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EditPoints="1"/>
          </p:cNvSpPr>
          <p:nvPr/>
        </p:nvSpPr>
        <p:spPr bwMode="auto">
          <a:xfrm>
            <a:off x="10402518" y="1780346"/>
            <a:ext cx="747413" cy="789041"/>
          </a:xfrm>
          <a:custGeom>
            <a:avLst/>
            <a:gdLst>
              <a:gd name="T0" fmla="*/ 101 w 167"/>
              <a:gd name="T1" fmla="*/ 151 h 176"/>
              <a:gd name="T2" fmla="*/ 64 w 167"/>
              <a:gd name="T3" fmla="*/ 148 h 176"/>
              <a:gd name="T4" fmla="*/ 103 w 167"/>
              <a:gd name="T5" fmla="*/ 148 h 176"/>
              <a:gd name="T6" fmla="*/ 64 w 167"/>
              <a:gd name="T7" fmla="*/ 166 h 176"/>
              <a:gd name="T8" fmla="*/ 70 w 167"/>
              <a:gd name="T9" fmla="*/ 171 h 176"/>
              <a:gd name="T10" fmla="*/ 94 w 167"/>
              <a:gd name="T11" fmla="*/ 176 h 176"/>
              <a:gd name="T12" fmla="*/ 101 w 167"/>
              <a:gd name="T13" fmla="*/ 171 h 176"/>
              <a:gd name="T14" fmla="*/ 101 w 167"/>
              <a:gd name="T15" fmla="*/ 163 h 176"/>
              <a:gd name="T16" fmla="*/ 64 w 167"/>
              <a:gd name="T17" fmla="*/ 157 h 176"/>
              <a:gd name="T18" fmla="*/ 101 w 167"/>
              <a:gd name="T19" fmla="*/ 161 h 176"/>
              <a:gd name="T20" fmla="*/ 101 w 167"/>
              <a:gd name="T21" fmla="*/ 153 h 176"/>
              <a:gd name="T22" fmla="*/ 102 w 167"/>
              <a:gd name="T23" fmla="*/ 141 h 176"/>
              <a:gd name="T24" fmla="*/ 40 w 167"/>
              <a:gd name="T25" fmla="*/ 84 h 176"/>
              <a:gd name="T26" fmla="*/ 100 w 167"/>
              <a:gd name="T27" fmla="*/ 96 h 176"/>
              <a:gd name="T28" fmla="*/ 85 w 167"/>
              <a:gd name="T29" fmla="*/ 72 h 176"/>
              <a:gd name="T30" fmla="*/ 99 w 167"/>
              <a:gd name="T31" fmla="*/ 67 h 176"/>
              <a:gd name="T32" fmla="*/ 90 w 167"/>
              <a:gd name="T33" fmla="*/ 56 h 176"/>
              <a:gd name="T34" fmla="*/ 69 w 167"/>
              <a:gd name="T35" fmla="*/ 77 h 176"/>
              <a:gd name="T36" fmla="*/ 83 w 167"/>
              <a:gd name="T37" fmla="*/ 101 h 176"/>
              <a:gd name="T38" fmla="*/ 68 w 167"/>
              <a:gd name="T39" fmla="*/ 106 h 176"/>
              <a:gd name="T40" fmla="*/ 79 w 167"/>
              <a:gd name="T41" fmla="*/ 118 h 176"/>
              <a:gd name="T42" fmla="*/ 100 w 167"/>
              <a:gd name="T43" fmla="*/ 96 h 176"/>
              <a:gd name="T44" fmla="*/ 121 w 167"/>
              <a:gd name="T45" fmla="*/ 27 h 176"/>
              <a:gd name="T46" fmla="*/ 121 w 167"/>
              <a:gd name="T47" fmla="*/ 12 h 176"/>
              <a:gd name="T48" fmla="*/ 24 w 167"/>
              <a:gd name="T49" fmla="*/ 113 h 176"/>
              <a:gd name="T50" fmla="*/ 15 w 167"/>
              <a:gd name="T51" fmla="*/ 126 h 176"/>
              <a:gd name="T52" fmla="*/ 29 w 167"/>
              <a:gd name="T53" fmla="*/ 114 h 176"/>
              <a:gd name="T54" fmla="*/ 143 w 167"/>
              <a:gd name="T55" fmla="*/ 52 h 176"/>
              <a:gd name="T56" fmla="*/ 152 w 167"/>
              <a:gd name="T57" fmla="*/ 40 h 176"/>
              <a:gd name="T58" fmla="*/ 142 w 167"/>
              <a:gd name="T59" fmla="*/ 53 h 176"/>
              <a:gd name="T60" fmla="*/ 4 w 167"/>
              <a:gd name="T61" fmla="*/ 79 h 176"/>
              <a:gd name="T62" fmla="*/ 17 w 167"/>
              <a:gd name="T63" fmla="*/ 86 h 176"/>
              <a:gd name="T64" fmla="*/ 151 w 167"/>
              <a:gd name="T65" fmla="*/ 79 h 176"/>
              <a:gd name="T66" fmla="*/ 163 w 167"/>
              <a:gd name="T67" fmla="*/ 86 h 176"/>
              <a:gd name="T68" fmla="*/ 28 w 167"/>
              <a:gd name="T69" fmla="*/ 46 h 176"/>
              <a:gd name="T70" fmla="*/ 13 w 167"/>
              <a:gd name="T71" fmla="*/ 46 h 176"/>
              <a:gd name="T72" fmla="*/ 29 w 167"/>
              <a:gd name="T73" fmla="*/ 52 h 176"/>
              <a:gd name="T74" fmla="*/ 143 w 167"/>
              <a:gd name="T75" fmla="*/ 113 h 176"/>
              <a:gd name="T76" fmla="*/ 152 w 167"/>
              <a:gd name="T77" fmla="*/ 126 h 176"/>
              <a:gd name="T78" fmla="*/ 155 w 167"/>
              <a:gd name="T79" fmla="*/ 120 h 176"/>
              <a:gd name="T80" fmla="*/ 52 w 167"/>
              <a:gd name="T81" fmla="*/ 28 h 176"/>
              <a:gd name="T82" fmla="*/ 42 w 167"/>
              <a:gd name="T83" fmla="*/ 11 h 176"/>
              <a:gd name="T84" fmla="*/ 47 w 167"/>
              <a:gd name="T85" fmla="*/ 27 h 176"/>
              <a:gd name="T86" fmla="*/ 88 w 167"/>
              <a:gd name="T87" fmla="*/ 3 h 176"/>
              <a:gd name="T88" fmla="*/ 81 w 167"/>
              <a:gd name="T89" fmla="*/ 16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7" h="176">
                <a:moveTo>
                  <a:pt x="103" y="148"/>
                </a:moveTo>
                <a:cubicBezTo>
                  <a:pt x="103" y="148"/>
                  <a:pt x="103" y="148"/>
                  <a:pt x="103" y="148"/>
                </a:cubicBezTo>
                <a:cubicBezTo>
                  <a:pt x="103" y="150"/>
                  <a:pt x="102" y="151"/>
                  <a:pt x="101" y="151"/>
                </a:cubicBezTo>
                <a:cubicBezTo>
                  <a:pt x="68" y="151"/>
                  <a:pt x="68" y="151"/>
                  <a:pt x="68" y="151"/>
                </a:cubicBezTo>
                <a:cubicBezTo>
                  <a:pt x="66" y="151"/>
                  <a:pt x="64" y="150"/>
                  <a:pt x="64" y="148"/>
                </a:cubicBezTo>
                <a:cubicBezTo>
                  <a:pt x="64" y="148"/>
                  <a:pt x="64" y="148"/>
                  <a:pt x="64" y="148"/>
                </a:cubicBezTo>
                <a:cubicBezTo>
                  <a:pt x="64" y="146"/>
                  <a:pt x="66" y="144"/>
                  <a:pt x="68" y="144"/>
                </a:cubicBezTo>
                <a:cubicBezTo>
                  <a:pt x="101" y="144"/>
                  <a:pt x="101" y="144"/>
                  <a:pt x="101" y="144"/>
                </a:cubicBezTo>
                <a:cubicBezTo>
                  <a:pt x="102" y="144"/>
                  <a:pt x="103" y="146"/>
                  <a:pt x="103" y="148"/>
                </a:cubicBezTo>
                <a:close/>
                <a:moveTo>
                  <a:pt x="101" y="163"/>
                </a:moveTo>
                <a:cubicBezTo>
                  <a:pt x="68" y="163"/>
                  <a:pt x="68" y="163"/>
                  <a:pt x="68" y="163"/>
                </a:cubicBezTo>
                <a:cubicBezTo>
                  <a:pt x="66" y="163"/>
                  <a:pt x="64" y="164"/>
                  <a:pt x="64" y="166"/>
                </a:cubicBezTo>
                <a:cubicBezTo>
                  <a:pt x="64" y="168"/>
                  <a:pt x="64" y="168"/>
                  <a:pt x="64" y="168"/>
                </a:cubicBezTo>
                <a:cubicBezTo>
                  <a:pt x="64" y="170"/>
                  <a:pt x="66" y="171"/>
                  <a:pt x="68" y="171"/>
                </a:cubicBezTo>
                <a:cubicBezTo>
                  <a:pt x="70" y="171"/>
                  <a:pt x="70" y="171"/>
                  <a:pt x="70" y="171"/>
                </a:cubicBezTo>
                <a:cubicBezTo>
                  <a:pt x="70" y="172"/>
                  <a:pt x="70" y="172"/>
                  <a:pt x="70" y="172"/>
                </a:cubicBezTo>
                <a:cubicBezTo>
                  <a:pt x="70" y="174"/>
                  <a:pt x="72" y="176"/>
                  <a:pt x="74" y="176"/>
                </a:cubicBezTo>
                <a:cubicBezTo>
                  <a:pt x="94" y="176"/>
                  <a:pt x="94" y="176"/>
                  <a:pt x="94" y="176"/>
                </a:cubicBezTo>
                <a:cubicBezTo>
                  <a:pt x="96" y="176"/>
                  <a:pt x="97" y="174"/>
                  <a:pt x="97" y="172"/>
                </a:cubicBezTo>
                <a:cubicBezTo>
                  <a:pt x="97" y="171"/>
                  <a:pt x="97" y="171"/>
                  <a:pt x="97" y="171"/>
                </a:cubicBezTo>
                <a:cubicBezTo>
                  <a:pt x="101" y="171"/>
                  <a:pt x="101" y="171"/>
                  <a:pt x="101" y="171"/>
                </a:cubicBezTo>
                <a:cubicBezTo>
                  <a:pt x="102" y="171"/>
                  <a:pt x="103" y="170"/>
                  <a:pt x="103" y="168"/>
                </a:cubicBezTo>
                <a:cubicBezTo>
                  <a:pt x="103" y="166"/>
                  <a:pt x="103" y="166"/>
                  <a:pt x="103" y="166"/>
                </a:cubicBezTo>
                <a:cubicBezTo>
                  <a:pt x="103" y="164"/>
                  <a:pt x="102" y="163"/>
                  <a:pt x="101" y="163"/>
                </a:cubicBezTo>
                <a:close/>
                <a:moveTo>
                  <a:pt x="101" y="153"/>
                </a:moveTo>
                <a:cubicBezTo>
                  <a:pt x="68" y="153"/>
                  <a:pt x="68" y="153"/>
                  <a:pt x="68" y="153"/>
                </a:cubicBezTo>
                <a:cubicBezTo>
                  <a:pt x="66" y="153"/>
                  <a:pt x="64" y="155"/>
                  <a:pt x="64" y="157"/>
                </a:cubicBezTo>
                <a:cubicBezTo>
                  <a:pt x="64" y="157"/>
                  <a:pt x="64" y="157"/>
                  <a:pt x="64" y="157"/>
                </a:cubicBezTo>
                <a:cubicBezTo>
                  <a:pt x="64" y="159"/>
                  <a:pt x="66" y="161"/>
                  <a:pt x="68" y="161"/>
                </a:cubicBezTo>
                <a:cubicBezTo>
                  <a:pt x="101" y="161"/>
                  <a:pt x="101" y="161"/>
                  <a:pt x="101" y="161"/>
                </a:cubicBezTo>
                <a:cubicBezTo>
                  <a:pt x="102" y="161"/>
                  <a:pt x="103" y="159"/>
                  <a:pt x="103" y="157"/>
                </a:cubicBezTo>
                <a:cubicBezTo>
                  <a:pt x="103" y="157"/>
                  <a:pt x="103" y="157"/>
                  <a:pt x="103" y="157"/>
                </a:cubicBezTo>
                <a:cubicBezTo>
                  <a:pt x="103" y="155"/>
                  <a:pt x="102" y="153"/>
                  <a:pt x="101" y="153"/>
                </a:cubicBezTo>
                <a:close/>
                <a:moveTo>
                  <a:pt x="128" y="84"/>
                </a:moveTo>
                <a:cubicBezTo>
                  <a:pt x="128" y="96"/>
                  <a:pt x="123" y="106"/>
                  <a:pt x="116" y="114"/>
                </a:cubicBezTo>
                <a:cubicBezTo>
                  <a:pt x="101" y="131"/>
                  <a:pt x="110" y="141"/>
                  <a:pt x="102" y="141"/>
                </a:cubicBezTo>
                <a:cubicBezTo>
                  <a:pt x="66" y="141"/>
                  <a:pt x="66" y="141"/>
                  <a:pt x="66" y="141"/>
                </a:cubicBezTo>
                <a:cubicBezTo>
                  <a:pt x="58" y="141"/>
                  <a:pt x="66" y="131"/>
                  <a:pt x="52" y="114"/>
                </a:cubicBezTo>
                <a:cubicBezTo>
                  <a:pt x="45" y="106"/>
                  <a:pt x="40" y="96"/>
                  <a:pt x="40" y="84"/>
                </a:cubicBezTo>
                <a:cubicBezTo>
                  <a:pt x="40" y="61"/>
                  <a:pt x="60" y="41"/>
                  <a:pt x="84" y="41"/>
                </a:cubicBezTo>
                <a:cubicBezTo>
                  <a:pt x="108" y="41"/>
                  <a:pt x="128" y="61"/>
                  <a:pt x="128" y="84"/>
                </a:cubicBezTo>
                <a:close/>
                <a:moveTo>
                  <a:pt x="100" y="96"/>
                </a:moveTo>
                <a:cubicBezTo>
                  <a:pt x="100" y="87"/>
                  <a:pt x="93" y="83"/>
                  <a:pt x="88" y="81"/>
                </a:cubicBezTo>
                <a:cubicBezTo>
                  <a:pt x="81" y="79"/>
                  <a:pt x="81" y="77"/>
                  <a:pt x="81" y="76"/>
                </a:cubicBezTo>
                <a:cubicBezTo>
                  <a:pt x="81" y="74"/>
                  <a:pt x="82" y="72"/>
                  <a:pt x="85" y="72"/>
                </a:cubicBezTo>
                <a:cubicBezTo>
                  <a:pt x="89" y="72"/>
                  <a:pt x="91" y="74"/>
                  <a:pt x="92" y="75"/>
                </a:cubicBezTo>
                <a:cubicBezTo>
                  <a:pt x="95" y="76"/>
                  <a:pt x="95" y="76"/>
                  <a:pt x="95" y="76"/>
                </a:cubicBezTo>
                <a:cubicBezTo>
                  <a:pt x="99" y="67"/>
                  <a:pt x="99" y="67"/>
                  <a:pt x="99" y="67"/>
                </a:cubicBezTo>
                <a:cubicBezTo>
                  <a:pt x="97" y="65"/>
                  <a:pt x="97" y="65"/>
                  <a:pt x="97" y="65"/>
                </a:cubicBezTo>
                <a:cubicBezTo>
                  <a:pt x="95" y="64"/>
                  <a:pt x="92" y="63"/>
                  <a:pt x="90" y="62"/>
                </a:cubicBezTo>
                <a:cubicBezTo>
                  <a:pt x="90" y="56"/>
                  <a:pt x="90" y="56"/>
                  <a:pt x="90" y="56"/>
                </a:cubicBezTo>
                <a:cubicBezTo>
                  <a:pt x="80" y="56"/>
                  <a:pt x="80" y="56"/>
                  <a:pt x="80" y="56"/>
                </a:cubicBezTo>
                <a:cubicBezTo>
                  <a:pt x="80" y="63"/>
                  <a:pt x="80" y="63"/>
                  <a:pt x="80" y="63"/>
                </a:cubicBezTo>
                <a:cubicBezTo>
                  <a:pt x="73" y="65"/>
                  <a:pt x="69" y="71"/>
                  <a:pt x="69" y="77"/>
                </a:cubicBezTo>
                <a:cubicBezTo>
                  <a:pt x="69" y="85"/>
                  <a:pt x="76" y="89"/>
                  <a:pt x="82" y="91"/>
                </a:cubicBezTo>
                <a:cubicBezTo>
                  <a:pt x="88" y="93"/>
                  <a:pt x="88" y="95"/>
                  <a:pt x="88" y="97"/>
                </a:cubicBezTo>
                <a:cubicBezTo>
                  <a:pt x="88" y="99"/>
                  <a:pt x="86" y="101"/>
                  <a:pt x="83" y="101"/>
                </a:cubicBezTo>
                <a:cubicBezTo>
                  <a:pt x="80" y="101"/>
                  <a:pt x="77" y="100"/>
                  <a:pt x="74" y="98"/>
                </a:cubicBezTo>
                <a:cubicBezTo>
                  <a:pt x="71" y="96"/>
                  <a:pt x="71" y="96"/>
                  <a:pt x="71" y="96"/>
                </a:cubicBezTo>
                <a:cubicBezTo>
                  <a:pt x="68" y="106"/>
                  <a:pt x="68" y="106"/>
                  <a:pt x="68" y="106"/>
                </a:cubicBezTo>
                <a:cubicBezTo>
                  <a:pt x="70" y="108"/>
                  <a:pt x="70" y="108"/>
                  <a:pt x="70" y="108"/>
                </a:cubicBezTo>
                <a:cubicBezTo>
                  <a:pt x="72" y="109"/>
                  <a:pt x="75" y="111"/>
                  <a:pt x="79" y="111"/>
                </a:cubicBezTo>
                <a:cubicBezTo>
                  <a:pt x="79" y="118"/>
                  <a:pt x="79" y="118"/>
                  <a:pt x="79" y="118"/>
                </a:cubicBezTo>
                <a:cubicBezTo>
                  <a:pt x="89" y="118"/>
                  <a:pt x="89" y="118"/>
                  <a:pt x="89" y="118"/>
                </a:cubicBezTo>
                <a:cubicBezTo>
                  <a:pt x="89" y="111"/>
                  <a:pt x="89" y="111"/>
                  <a:pt x="89" y="111"/>
                </a:cubicBezTo>
                <a:cubicBezTo>
                  <a:pt x="96" y="108"/>
                  <a:pt x="100" y="103"/>
                  <a:pt x="100" y="96"/>
                </a:cubicBezTo>
                <a:close/>
                <a:moveTo>
                  <a:pt x="116" y="28"/>
                </a:moveTo>
                <a:cubicBezTo>
                  <a:pt x="116" y="28"/>
                  <a:pt x="117" y="29"/>
                  <a:pt x="118" y="29"/>
                </a:cubicBezTo>
                <a:cubicBezTo>
                  <a:pt x="119" y="29"/>
                  <a:pt x="120" y="28"/>
                  <a:pt x="121" y="27"/>
                </a:cubicBezTo>
                <a:cubicBezTo>
                  <a:pt x="127" y="15"/>
                  <a:pt x="127" y="15"/>
                  <a:pt x="127" y="15"/>
                </a:cubicBezTo>
                <a:cubicBezTo>
                  <a:pt x="128" y="13"/>
                  <a:pt x="127" y="12"/>
                  <a:pt x="126" y="11"/>
                </a:cubicBezTo>
                <a:cubicBezTo>
                  <a:pt x="124" y="10"/>
                  <a:pt x="121" y="10"/>
                  <a:pt x="121" y="12"/>
                </a:cubicBezTo>
                <a:cubicBezTo>
                  <a:pt x="114" y="23"/>
                  <a:pt x="114" y="23"/>
                  <a:pt x="114" y="23"/>
                </a:cubicBezTo>
                <a:cubicBezTo>
                  <a:pt x="113" y="24"/>
                  <a:pt x="114" y="27"/>
                  <a:pt x="116" y="28"/>
                </a:cubicBezTo>
                <a:close/>
                <a:moveTo>
                  <a:pt x="24" y="113"/>
                </a:moveTo>
                <a:cubicBezTo>
                  <a:pt x="13" y="120"/>
                  <a:pt x="13" y="120"/>
                  <a:pt x="13" y="120"/>
                </a:cubicBezTo>
                <a:cubicBezTo>
                  <a:pt x="11" y="121"/>
                  <a:pt x="10" y="122"/>
                  <a:pt x="11" y="124"/>
                </a:cubicBezTo>
                <a:cubicBezTo>
                  <a:pt x="12" y="125"/>
                  <a:pt x="13" y="126"/>
                  <a:pt x="15" y="126"/>
                </a:cubicBezTo>
                <a:cubicBezTo>
                  <a:pt x="15" y="126"/>
                  <a:pt x="16" y="126"/>
                  <a:pt x="17" y="126"/>
                </a:cubicBezTo>
                <a:cubicBezTo>
                  <a:pt x="28" y="120"/>
                  <a:pt x="28" y="120"/>
                  <a:pt x="28" y="120"/>
                </a:cubicBezTo>
                <a:cubicBezTo>
                  <a:pt x="30" y="119"/>
                  <a:pt x="30" y="116"/>
                  <a:pt x="29" y="114"/>
                </a:cubicBezTo>
                <a:cubicBezTo>
                  <a:pt x="28" y="112"/>
                  <a:pt x="26" y="112"/>
                  <a:pt x="24" y="113"/>
                </a:cubicBezTo>
                <a:close/>
                <a:moveTo>
                  <a:pt x="142" y="53"/>
                </a:moveTo>
                <a:cubicBezTo>
                  <a:pt x="142" y="53"/>
                  <a:pt x="143" y="52"/>
                  <a:pt x="143" y="52"/>
                </a:cubicBezTo>
                <a:cubicBezTo>
                  <a:pt x="155" y="46"/>
                  <a:pt x="155" y="46"/>
                  <a:pt x="155" y="46"/>
                </a:cubicBezTo>
                <a:cubicBezTo>
                  <a:pt x="157" y="45"/>
                  <a:pt x="157" y="42"/>
                  <a:pt x="156" y="41"/>
                </a:cubicBezTo>
                <a:cubicBezTo>
                  <a:pt x="155" y="40"/>
                  <a:pt x="153" y="39"/>
                  <a:pt x="152" y="40"/>
                </a:cubicBezTo>
                <a:cubicBezTo>
                  <a:pt x="140" y="46"/>
                  <a:pt x="140" y="46"/>
                  <a:pt x="140" y="46"/>
                </a:cubicBezTo>
                <a:cubicBezTo>
                  <a:pt x="139" y="47"/>
                  <a:pt x="138" y="50"/>
                  <a:pt x="139" y="52"/>
                </a:cubicBezTo>
                <a:cubicBezTo>
                  <a:pt x="140" y="52"/>
                  <a:pt x="141" y="53"/>
                  <a:pt x="142" y="53"/>
                </a:cubicBezTo>
                <a:close/>
                <a:moveTo>
                  <a:pt x="20" y="82"/>
                </a:moveTo>
                <a:cubicBezTo>
                  <a:pt x="20" y="81"/>
                  <a:pt x="19" y="79"/>
                  <a:pt x="17" y="79"/>
                </a:cubicBezTo>
                <a:cubicBezTo>
                  <a:pt x="4" y="79"/>
                  <a:pt x="4" y="79"/>
                  <a:pt x="4" y="79"/>
                </a:cubicBezTo>
                <a:cubicBezTo>
                  <a:pt x="2" y="79"/>
                  <a:pt x="0" y="81"/>
                  <a:pt x="0" y="82"/>
                </a:cubicBezTo>
                <a:cubicBezTo>
                  <a:pt x="0" y="85"/>
                  <a:pt x="2" y="86"/>
                  <a:pt x="4" y="86"/>
                </a:cubicBezTo>
                <a:cubicBezTo>
                  <a:pt x="17" y="86"/>
                  <a:pt x="17" y="86"/>
                  <a:pt x="17" y="86"/>
                </a:cubicBezTo>
                <a:cubicBezTo>
                  <a:pt x="19" y="86"/>
                  <a:pt x="20" y="85"/>
                  <a:pt x="20" y="82"/>
                </a:cubicBezTo>
                <a:close/>
                <a:moveTo>
                  <a:pt x="163" y="79"/>
                </a:moveTo>
                <a:cubicBezTo>
                  <a:pt x="151" y="79"/>
                  <a:pt x="151" y="79"/>
                  <a:pt x="151" y="79"/>
                </a:cubicBezTo>
                <a:cubicBezTo>
                  <a:pt x="149" y="79"/>
                  <a:pt x="147" y="81"/>
                  <a:pt x="147" y="82"/>
                </a:cubicBezTo>
                <a:cubicBezTo>
                  <a:pt x="147" y="85"/>
                  <a:pt x="149" y="86"/>
                  <a:pt x="151" y="86"/>
                </a:cubicBezTo>
                <a:cubicBezTo>
                  <a:pt x="163" y="86"/>
                  <a:pt x="163" y="86"/>
                  <a:pt x="163" y="86"/>
                </a:cubicBezTo>
                <a:cubicBezTo>
                  <a:pt x="166" y="86"/>
                  <a:pt x="167" y="85"/>
                  <a:pt x="167" y="82"/>
                </a:cubicBezTo>
                <a:cubicBezTo>
                  <a:pt x="167" y="81"/>
                  <a:pt x="166" y="79"/>
                  <a:pt x="163" y="79"/>
                </a:cubicBezTo>
                <a:close/>
                <a:moveTo>
                  <a:pt x="28" y="46"/>
                </a:moveTo>
                <a:cubicBezTo>
                  <a:pt x="17" y="40"/>
                  <a:pt x="17" y="40"/>
                  <a:pt x="17" y="40"/>
                </a:cubicBezTo>
                <a:cubicBezTo>
                  <a:pt x="15" y="39"/>
                  <a:pt x="12" y="40"/>
                  <a:pt x="11" y="41"/>
                </a:cubicBezTo>
                <a:cubicBezTo>
                  <a:pt x="10" y="42"/>
                  <a:pt x="11" y="45"/>
                  <a:pt x="13" y="46"/>
                </a:cubicBezTo>
                <a:cubicBezTo>
                  <a:pt x="24" y="52"/>
                  <a:pt x="24" y="52"/>
                  <a:pt x="24" y="52"/>
                </a:cubicBezTo>
                <a:cubicBezTo>
                  <a:pt x="25" y="52"/>
                  <a:pt x="25" y="53"/>
                  <a:pt x="26" y="53"/>
                </a:cubicBezTo>
                <a:cubicBezTo>
                  <a:pt x="27" y="53"/>
                  <a:pt x="29" y="52"/>
                  <a:pt x="29" y="52"/>
                </a:cubicBezTo>
                <a:cubicBezTo>
                  <a:pt x="30" y="50"/>
                  <a:pt x="30" y="47"/>
                  <a:pt x="28" y="46"/>
                </a:cubicBezTo>
                <a:close/>
                <a:moveTo>
                  <a:pt x="155" y="120"/>
                </a:moveTo>
                <a:cubicBezTo>
                  <a:pt x="143" y="113"/>
                  <a:pt x="143" y="113"/>
                  <a:pt x="143" y="113"/>
                </a:cubicBezTo>
                <a:cubicBezTo>
                  <a:pt x="142" y="112"/>
                  <a:pt x="140" y="112"/>
                  <a:pt x="139" y="114"/>
                </a:cubicBezTo>
                <a:cubicBezTo>
                  <a:pt x="138" y="116"/>
                  <a:pt x="139" y="119"/>
                  <a:pt x="140" y="120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2" y="126"/>
                  <a:pt x="152" y="126"/>
                  <a:pt x="153" y="126"/>
                </a:cubicBezTo>
                <a:cubicBezTo>
                  <a:pt x="154" y="126"/>
                  <a:pt x="155" y="125"/>
                  <a:pt x="156" y="124"/>
                </a:cubicBezTo>
                <a:cubicBezTo>
                  <a:pt x="157" y="122"/>
                  <a:pt x="157" y="121"/>
                  <a:pt x="155" y="120"/>
                </a:cubicBezTo>
                <a:close/>
                <a:moveTo>
                  <a:pt x="47" y="27"/>
                </a:moveTo>
                <a:cubicBezTo>
                  <a:pt x="48" y="28"/>
                  <a:pt x="50" y="29"/>
                  <a:pt x="50" y="29"/>
                </a:cubicBezTo>
                <a:cubicBezTo>
                  <a:pt x="51" y="29"/>
                  <a:pt x="51" y="28"/>
                  <a:pt x="52" y="28"/>
                </a:cubicBezTo>
                <a:cubicBezTo>
                  <a:pt x="54" y="27"/>
                  <a:pt x="54" y="24"/>
                  <a:pt x="53" y="23"/>
                </a:cubicBezTo>
                <a:cubicBezTo>
                  <a:pt x="47" y="12"/>
                  <a:pt x="47" y="12"/>
                  <a:pt x="47" y="12"/>
                </a:cubicBezTo>
                <a:cubicBezTo>
                  <a:pt x="46" y="10"/>
                  <a:pt x="44" y="10"/>
                  <a:pt x="42" y="11"/>
                </a:cubicBezTo>
                <a:cubicBezTo>
                  <a:pt x="40" y="12"/>
                  <a:pt x="40" y="13"/>
                  <a:pt x="40" y="15"/>
                </a:cubicBezTo>
                <a:cubicBezTo>
                  <a:pt x="47" y="27"/>
                  <a:pt x="47" y="27"/>
                  <a:pt x="47" y="27"/>
                </a:cubicBezTo>
                <a:cubicBezTo>
                  <a:pt x="47" y="27"/>
                  <a:pt x="47" y="27"/>
                  <a:pt x="47" y="27"/>
                </a:cubicBezTo>
                <a:close/>
                <a:moveTo>
                  <a:pt x="84" y="20"/>
                </a:moveTo>
                <a:cubicBezTo>
                  <a:pt x="86" y="20"/>
                  <a:pt x="88" y="18"/>
                  <a:pt x="88" y="16"/>
                </a:cubicBezTo>
                <a:cubicBezTo>
                  <a:pt x="88" y="3"/>
                  <a:pt x="88" y="3"/>
                  <a:pt x="88" y="3"/>
                </a:cubicBezTo>
                <a:cubicBezTo>
                  <a:pt x="88" y="1"/>
                  <a:pt x="86" y="0"/>
                  <a:pt x="84" y="0"/>
                </a:cubicBezTo>
                <a:cubicBezTo>
                  <a:pt x="81" y="0"/>
                  <a:pt x="81" y="1"/>
                  <a:pt x="81" y="3"/>
                </a:cubicBezTo>
                <a:cubicBezTo>
                  <a:pt x="81" y="16"/>
                  <a:pt x="81" y="16"/>
                  <a:pt x="81" y="16"/>
                </a:cubicBezTo>
                <a:cubicBezTo>
                  <a:pt x="81" y="18"/>
                  <a:pt x="81" y="20"/>
                  <a:pt x="84" y="2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400">
              <a:cs typeface="+mn-ea"/>
              <a:sym typeface="+mn-lt"/>
            </a:endParaRPr>
          </a:p>
        </p:txBody>
      </p:sp>
      <p:sp>
        <p:nvSpPr>
          <p:cNvPr id="38" name="Shape 57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334963" y="312084"/>
            <a:ext cx="2821285" cy="60529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txBody>
          <a:bodyPr wrap="none" lIns="25400" tIns="25400" rIns="25400" bIns="25400" numCol="1" anchor="ctr">
            <a:spAutoFit/>
          </a:bodyPr>
          <a:lstStyle>
            <a:lvl1pPr algn="l">
              <a:defRPr sz="4000" b="1">
                <a:solidFill>
                  <a:srgbClr val="232323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3600" dirty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Our Services</a:t>
            </a:r>
          </a:p>
        </p:txBody>
      </p:sp>
      <p:grpSp>
        <p:nvGrpSpPr>
          <p:cNvPr id="39" name="组合 3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07192" y="1210849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40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41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42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1"/>
            </p:custDataLst>
          </p:nvPr>
        </p:nvSpPr>
        <p:spPr>
          <a:xfrm>
            <a:off x="382793" y="744596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grpSp>
        <p:nvGrpSpPr>
          <p:cNvPr id="43" name="Group 3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2082444" y="1717340"/>
            <a:ext cx="2647818" cy="938858"/>
            <a:chOff x="1662679" y="1724904"/>
            <a:chExt cx="2946944" cy="1502173"/>
          </a:xfrm>
        </p:grpSpPr>
        <p:sp>
          <p:nvSpPr>
            <p:cNvPr id="44" name="Rectangle 38"/>
            <p:cNvSpPr/>
            <p:nvPr/>
          </p:nvSpPr>
          <p:spPr>
            <a:xfrm flipH="1">
              <a:off x="1696443" y="1724904"/>
              <a:ext cx="2213997" cy="5416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Your Title Here</a:t>
              </a:r>
            </a:p>
          </p:txBody>
        </p:sp>
        <p:sp>
          <p:nvSpPr>
            <p:cNvPr id="45" name="Rectangle 39"/>
            <p:cNvSpPr/>
            <p:nvPr/>
          </p:nvSpPr>
          <p:spPr>
            <a:xfrm>
              <a:off x="1662679" y="2131803"/>
              <a:ext cx="2946944" cy="10952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A wonderful serenity has taken possession of my entire soul, like these</a:t>
              </a:r>
            </a:p>
          </p:txBody>
        </p:sp>
      </p:grpSp>
      <p:grpSp>
        <p:nvGrpSpPr>
          <p:cNvPr id="47" name="Group 3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2100028" y="3264786"/>
            <a:ext cx="2647818" cy="938858"/>
            <a:chOff x="1662679" y="1724904"/>
            <a:chExt cx="2946944" cy="1502173"/>
          </a:xfrm>
        </p:grpSpPr>
        <p:sp>
          <p:nvSpPr>
            <p:cNvPr id="49" name="Rectangle 38"/>
            <p:cNvSpPr/>
            <p:nvPr/>
          </p:nvSpPr>
          <p:spPr>
            <a:xfrm flipH="1">
              <a:off x="1696443" y="1724904"/>
              <a:ext cx="2213997" cy="5416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Your Title Here</a:t>
              </a:r>
            </a:p>
          </p:txBody>
        </p:sp>
        <p:sp>
          <p:nvSpPr>
            <p:cNvPr id="51" name="Rectangle 39"/>
            <p:cNvSpPr/>
            <p:nvPr/>
          </p:nvSpPr>
          <p:spPr>
            <a:xfrm>
              <a:off x="1662679" y="2131803"/>
              <a:ext cx="2946944" cy="10952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A wonderful serenity has taken possession of my entire soul, like these</a:t>
              </a:r>
            </a:p>
          </p:txBody>
        </p:sp>
      </p:grpSp>
      <p:grpSp>
        <p:nvGrpSpPr>
          <p:cNvPr id="72" name="Group 3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2135197" y="4864986"/>
            <a:ext cx="2647818" cy="938858"/>
            <a:chOff x="1662679" y="1724904"/>
            <a:chExt cx="2946944" cy="1502173"/>
          </a:xfrm>
        </p:grpSpPr>
        <p:sp>
          <p:nvSpPr>
            <p:cNvPr id="73" name="Rectangle 38"/>
            <p:cNvSpPr/>
            <p:nvPr/>
          </p:nvSpPr>
          <p:spPr>
            <a:xfrm flipH="1">
              <a:off x="1696443" y="1724904"/>
              <a:ext cx="2213997" cy="5416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Your Title Here</a:t>
              </a:r>
            </a:p>
          </p:txBody>
        </p:sp>
        <p:sp>
          <p:nvSpPr>
            <p:cNvPr id="74" name="Rectangle 39"/>
            <p:cNvSpPr/>
            <p:nvPr/>
          </p:nvSpPr>
          <p:spPr>
            <a:xfrm>
              <a:off x="1662679" y="2131803"/>
              <a:ext cx="2946944" cy="10952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A wonderful serenity has taken possession of my entire soul, like these</a:t>
              </a:r>
            </a:p>
          </p:txBody>
        </p:sp>
      </p:grpSp>
      <p:grpSp>
        <p:nvGrpSpPr>
          <p:cNvPr id="75" name="Group 3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762274" y="5023248"/>
            <a:ext cx="2647818" cy="938858"/>
            <a:chOff x="1662679" y="1724904"/>
            <a:chExt cx="2946944" cy="1502173"/>
          </a:xfrm>
        </p:grpSpPr>
        <p:sp>
          <p:nvSpPr>
            <p:cNvPr id="76" name="Rectangle 38"/>
            <p:cNvSpPr/>
            <p:nvPr/>
          </p:nvSpPr>
          <p:spPr>
            <a:xfrm flipH="1">
              <a:off x="1696443" y="1724904"/>
              <a:ext cx="2213997" cy="5416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Your Title Here</a:t>
              </a:r>
            </a:p>
          </p:txBody>
        </p:sp>
        <p:sp>
          <p:nvSpPr>
            <p:cNvPr id="77" name="Rectangle 39"/>
            <p:cNvSpPr/>
            <p:nvPr/>
          </p:nvSpPr>
          <p:spPr>
            <a:xfrm>
              <a:off x="1662679" y="2131803"/>
              <a:ext cx="2946944" cy="10952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A wonderful serenity has taken possession of my entire soul, like these</a:t>
              </a:r>
            </a:p>
          </p:txBody>
        </p:sp>
      </p:grpSp>
      <p:grpSp>
        <p:nvGrpSpPr>
          <p:cNvPr id="78" name="Group 3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727104" y="3282371"/>
            <a:ext cx="2647818" cy="938858"/>
            <a:chOff x="1662679" y="1724904"/>
            <a:chExt cx="2946944" cy="1502173"/>
          </a:xfrm>
        </p:grpSpPr>
        <p:sp>
          <p:nvSpPr>
            <p:cNvPr id="79" name="Rectangle 38"/>
            <p:cNvSpPr/>
            <p:nvPr/>
          </p:nvSpPr>
          <p:spPr>
            <a:xfrm flipH="1">
              <a:off x="1696443" y="1724904"/>
              <a:ext cx="2213997" cy="5416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Your Title Here</a:t>
              </a:r>
            </a:p>
          </p:txBody>
        </p:sp>
        <p:sp>
          <p:nvSpPr>
            <p:cNvPr id="80" name="Rectangle 39"/>
            <p:cNvSpPr/>
            <p:nvPr/>
          </p:nvSpPr>
          <p:spPr>
            <a:xfrm>
              <a:off x="1662679" y="2131803"/>
              <a:ext cx="2946944" cy="10952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A wonderful serenity has taken possession of my entire soul, like these</a:t>
              </a:r>
            </a:p>
          </p:txBody>
        </p:sp>
      </p:grpSp>
      <p:grpSp>
        <p:nvGrpSpPr>
          <p:cNvPr id="81" name="Group 3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656766" y="1787679"/>
            <a:ext cx="2647818" cy="938858"/>
            <a:chOff x="1662679" y="1724904"/>
            <a:chExt cx="2946944" cy="1502173"/>
          </a:xfrm>
        </p:grpSpPr>
        <p:sp>
          <p:nvSpPr>
            <p:cNvPr id="82" name="Rectangle 38"/>
            <p:cNvSpPr/>
            <p:nvPr/>
          </p:nvSpPr>
          <p:spPr>
            <a:xfrm flipH="1">
              <a:off x="1696443" y="1724904"/>
              <a:ext cx="2213997" cy="5416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Your Title Here</a:t>
              </a:r>
            </a:p>
          </p:txBody>
        </p:sp>
        <p:sp>
          <p:nvSpPr>
            <p:cNvPr id="83" name="Rectangle 39"/>
            <p:cNvSpPr/>
            <p:nvPr/>
          </p:nvSpPr>
          <p:spPr>
            <a:xfrm>
              <a:off x="1662679" y="2131803"/>
              <a:ext cx="2946944" cy="10952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100" dirty="0">
                  <a:solidFill>
                    <a:schemeClr val="bg1">
                      <a:lumMod val="95000"/>
                    </a:schemeClr>
                  </a:solidFill>
                  <a:latin typeface="+mj-lt"/>
                  <a:cs typeface="等线" panose="02010600030101010101" charset="-122"/>
                </a:rPr>
                <a:t>A wonderful serenity has taken possession of my entire soul, like these</a:t>
              </a:r>
            </a:p>
          </p:txBody>
        </p:sp>
      </p:grp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 advTm="2000">
        <p:random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 advTm="2000">
        <p:random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1264" name="图片 1126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V="1">
            <a:off x="0" y="-246186"/>
            <a:ext cx="12192000" cy="6445279"/>
          </a:xfrm>
          <a:prstGeom prst="rect">
            <a:avLst/>
          </a:prstGeom>
        </p:spPr>
      </p:pic>
      <p:sp>
        <p:nvSpPr>
          <p:cNvPr id="34" name="文本框 3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86615" y="1652510"/>
            <a:ext cx="277351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4000" dirty="0">
                <a:solidFill>
                  <a:schemeClr val="bg1"/>
                </a:solidFill>
                <a:cs typeface="等线" panose="02010600030101010101" charset="-122"/>
              </a:rPr>
              <a:t>CONTENTS</a:t>
            </a:r>
            <a:endParaRPr lang="zh-CN" altLang="en-US" sz="40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35" name="TextBox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1037414" y="2296112"/>
            <a:ext cx="265853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WATER </a:t>
            </a:r>
            <a:r>
              <a:rPr lang="en-US" sz="11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PRESENTATION TEMPLATE</a:t>
            </a:r>
          </a:p>
        </p:txBody>
      </p:sp>
      <p:grpSp>
        <p:nvGrpSpPr>
          <p:cNvPr id="36" name="组合 3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872001" y="1430140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37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38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grpSp>
        <p:nvGrpSpPr>
          <p:cNvPr id="7" name="组合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130322" y="3826523"/>
            <a:ext cx="1509485" cy="1677185"/>
            <a:chOff x="3323288" y="3826523"/>
            <a:chExt cx="1509485" cy="1677185"/>
          </a:xfrm>
        </p:grpSpPr>
        <p:sp>
          <p:nvSpPr>
            <p:cNvPr id="21" name="文本框 20"/>
            <p:cNvSpPr txBox="1"/>
            <p:nvPr/>
          </p:nvSpPr>
          <p:spPr>
            <a:xfrm>
              <a:off x="3361327" y="4269274"/>
              <a:ext cx="143340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solidFill>
                    <a:schemeClr val="accent1"/>
                  </a:solidFill>
                  <a:cs typeface="等线" panose="02010600030101010101" charset="-122"/>
                </a:rPr>
                <a:t>PART TWO</a:t>
              </a:r>
              <a:endParaRPr lang="zh-CN" altLang="en-US" sz="2000" dirty="0">
                <a:solidFill>
                  <a:schemeClr val="accent1"/>
                </a:solidFill>
                <a:cs typeface="等线" panose="02010600030101010101" charset="-122"/>
              </a:endParaRPr>
            </a:p>
          </p:txBody>
        </p:sp>
        <p:sp>
          <p:nvSpPr>
            <p:cNvPr id="22" name="Rectangle 15"/>
            <p:cNvSpPr>
              <a:spLocks noChangeArrowheads="1"/>
            </p:cNvSpPr>
            <p:nvPr/>
          </p:nvSpPr>
          <p:spPr bwMode="auto">
            <a:xfrm>
              <a:off x="3323288" y="4573517"/>
              <a:ext cx="1509485" cy="9301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400">
                  <a:solidFill>
                    <a:schemeClr val="accent1"/>
                  </a:solidFill>
                  <a:latin typeface="华文细黑" panose="02010600040101010101" pitchFamily="2" charset="-122"/>
                  <a:ea typeface="华文细黑" panose="02010600040101010101" pitchFamily="2" charset="-122"/>
                  <a:cs typeface="+mn-ea"/>
                  <a:sym typeface="+mn-lt"/>
                </a:rPr>
                <a:t>“This is a sample text. insert your desired text here. </a:t>
              </a:r>
            </a:p>
          </p:txBody>
        </p:sp>
        <p:sp>
          <p:nvSpPr>
            <p:cNvPr id="39" name="Shape 5080"/>
            <p:cNvSpPr/>
            <p:nvPr/>
          </p:nvSpPr>
          <p:spPr>
            <a:xfrm>
              <a:off x="3880247" y="3826523"/>
              <a:ext cx="395567" cy="331126"/>
            </a:xfrm>
            <a:custGeom>
              <a:avLst/>
              <a:gdLst/>
              <a:ahLst/>
              <a:cxnLst/>
              <a:rect l="0" t="0" r="0" b="0"/>
              <a:pathLst>
                <a:path w="119999" h="119999" extrusionOk="0">
                  <a:moveTo>
                    <a:pt x="29879" y="23253"/>
                  </a:moveTo>
                  <a:lnTo>
                    <a:pt x="29879" y="23253"/>
                  </a:lnTo>
                  <a:cubicBezTo>
                    <a:pt x="6506" y="38468"/>
                    <a:pt x="8674" y="63732"/>
                    <a:pt x="8674" y="74066"/>
                  </a:cubicBezTo>
                  <a:cubicBezTo>
                    <a:pt x="38313" y="30717"/>
                    <a:pt x="83373" y="33301"/>
                    <a:pt x="83373" y="33301"/>
                  </a:cubicBezTo>
                  <a:cubicBezTo>
                    <a:pt x="83373" y="33301"/>
                    <a:pt x="19277" y="58564"/>
                    <a:pt x="2168" y="109665"/>
                  </a:cubicBezTo>
                  <a:cubicBezTo>
                    <a:pt x="0" y="114832"/>
                    <a:pt x="8674" y="119712"/>
                    <a:pt x="10602" y="114832"/>
                  </a:cubicBezTo>
                  <a:cubicBezTo>
                    <a:pt x="14939" y="101913"/>
                    <a:pt x="23373" y="89282"/>
                    <a:pt x="23373" y="89282"/>
                  </a:cubicBezTo>
                  <a:cubicBezTo>
                    <a:pt x="36385" y="94449"/>
                    <a:pt x="55421" y="101913"/>
                    <a:pt x="70602" y="89282"/>
                  </a:cubicBezTo>
                  <a:cubicBezTo>
                    <a:pt x="87469" y="74066"/>
                    <a:pt x="87469" y="38468"/>
                    <a:pt x="113012" y="20669"/>
                  </a:cubicBezTo>
                  <a:cubicBezTo>
                    <a:pt x="119759" y="18086"/>
                    <a:pt x="60000" y="0"/>
                    <a:pt x="29879" y="23253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45700" tIns="22850" rIns="45700" bIns="22850" anchor="ctr" anchorCtr="0">
              <a:noAutofit/>
            </a:bodyPr>
            <a:lstStyle/>
            <a:p>
              <a:endParaRPr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grpSp>
        <p:nvGrpSpPr>
          <p:cNvPr id="4" name="组合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9844820" y="3768851"/>
            <a:ext cx="1509485" cy="1774162"/>
            <a:chOff x="9184420" y="3794251"/>
            <a:chExt cx="1509485" cy="1774162"/>
          </a:xfrm>
        </p:grpSpPr>
        <p:sp>
          <p:nvSpPr>
            <p:cNvPr id="27" name="文本框 26"/>
            <p:cNvSpPr txBox="1"/>
            <p:nvPr/>
          </p:nvSpPr>
          <p:spPr>
            <a:xfrm>
              <a:off x="9261733" y="4269274"/>
              <a:ext cx="135485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solidFill>
                    <a:schemeClr val="accent1"/>
                  </a:solidFill>
                  <a:cs typeface="等线" panose="02010600030101010101" charset="-122"/>
                </a:rPr>
                <a:t>PART FIVE</a:t>
              </a:r>
            </a:p>
          </p:txBody>
        </p:sp>
        <p:sp>
          <p:nvSpPr>
            <p:cNvPr id="28" name="Rectangle 15"/>
            <p:cNvSpPr>
              <a:spLocks noChangeArrowheads="1"/>
            </p:cNvSpPr>
            <p:nvPr/>
          </p:nvSpPr>
          <p:spPr bwMode="auto">
            <a:xfrm>
              <a:off x="9184420" y="4598917"/>
              <a:ext cx="1509485" cy="969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400">
                  <a:solidFill>
                    <a:schemeClr val="accent1"/>
                  </a:solidFill>
                  <a:latin typeface="华文细黑" panose="02010600040101010101" pitchFamily="2" charset="-122"/>
                  <a:ea typeface="华文细黑" panose="02010600040101010101" pitchFamily="2" charset="-122"/>
                  <a:cs typeface="+mn-ea"/>
                  <a:sym typeface="+mn-lt"/>
                </a:rPr>
                <a:t>“This is a sample text. insert your desired text here. </a:t>
              </a:r>
            </a:p>
          </p:txBody>
        </p:sp>
        <p:sp>
          <p:nvSpPr>
            <p:cNvPr id="40" name="Shape 5087"/>
            <p:cNvSpPr/>
            <p:nvPr/>
          </p:nvSpPr>
          <p:spPr>
            <a:xfrm>
              <a:off x="9826945" y="3794251"/>
              <a:ext cx="224435" cy="395670"/>
            </a:xfrm>
            <a:custGeom>
              <a:avLst/>
              <a:gdLst/>
              <a:ahLst/>
              <a:cxnLst/>
              <a:rect l="0" t="0" r="0" b="0"/>
              <a:pathLst>
                <a:path w="119999" h="119999" extrusionOk="0">
                  <a:moveTo>
                    <a:pt x="119577" y="27766"/>
                  </a:moveTo>
                  <a:lnTo>
                    <a:pt x="119577" y="27766"/>
                  </a:lnTo>
                  <a:cubicBezTo>
                    <a:pt x="119577" y="14969"/>
                    <a:pt x="119577" y="14969"/>
                    <a:pt x="119577" y="14969"/>
                  </a:cubicBezTo>
                  <a:cubicBezTo>
                    <a:pt x="119577" y="8450"/>
                    <a:pt x="93380" y="0"/>
                    <a:pt x="60000" y="0"/>
                  </a:cubicBezTo>
                  <a:cubicBezTo>
                    <a:pt x="25774" y="0"/>
                    <a:pt x="0" y="8450"/>
                    <a:pt x="0" y="14969"/>
                  </a:cubicBezTo>
                  <a:cubicBezTo>
                    <a:pt x="0" y="14969"/>
                    <a:pt x="0" y="14969"/>
                    <a:pt x="0" y="27766"/>
                  </a:cubicBezTo>
                  <a:cubicBezTo>
                    <a:pt x="0" y="40563"/>
                    <a:pt x="40985" y="51428"/>
                    <a:pt x="40985" y="59879"/>
                  </a:cubicBezTo>
                  <a:cubicBezTo>
                    <a:pt x="40985" y="70503"/>
                    <a:pt x="0" y="79195"/>
                    <a:pt x="0" y="91991"/>
                  </a:cubicBezTo>
                  <a:cubicBezTo>
                    <a:pt x="0" y="104788"/>
                    <a:pt x="0" y="106961"/>
                    <a:pt x="0" y="106961"/>
                  </a:cubicBezTo>
                  <a:cubicBezTo>
                    <a:pt x="0" y="111066"/>
                    <a:pt x="25774" y="119758"/>
                    <a:pt x="60000" y="119758"/>
                  </a:cubicBezTo>
                  <a:cubicBezTo>
                    <a:pt x="93380" y="119758"/>
                    <a:pt x="119577" y="111066"/>
                    <a:pt x="119577" y="106961"/>
                  </a:cubicBezTo>
                  <a:cubicBezTo>
                    <a:pt x="119577" y="106961"/>
                    <a:pt x="119577" y="104788"/>
                    <a:pt x="119577" y="91991"/>
                  </a:cubicBezTo>
                  <a:cubicBezTo>
                    <a:pt x="119577" y="79195"/>
                    <a:pt x="78591" y="70503"/>
                    <a:pt x="78591" y="59879"/>
                  </a:cubicBezTo>
                  <a:cubicBezTo>
                    <a:pt x="78591" y="51428"/>
                    <a:pt x="119577" y="40563"/>
                    <a:pt x="119577" y="27766"/>
                  </a:cubicBezTo>
                  <a:close/>
                  <a:moveTo>
                    <a:pt x="18591" y="14969"/>
                  </a:moveTo>
                  <a:lnTo>
                    <a:pt x="18591" y="14969"/>
                  </a:lnTo>
                  <a:cubicBezTo>
                    <a:pt x="25774" y="12796"/>
                    <a:pt x="37183" y="8450"/>
                    <a:pt x="60000" y="8450"/>
                  </a:cubicBezTo>
                  <a:cubicBezTo>
                    <a:pt x="82394" y="8450"/>
                    <a:pt x="100985" y="14969"/>
                    <a:pt x="100985" y="14969"/>
                  </a:cubicBezTo>
                  <a:cubicBezTo>
                    <a:pt x="104788" y="14969"/>
                    <a:pt x="108591" y="17142"/>
                    <a:pt x="104788" y="17142"/>
                  </a:cubicBezTo>
                  <a:cubicBezTo>
                    <a:pt x="97183" y="21247"/>
                    <a:pt x="78591" y="23420"/>
                    <a:pt x="60000" y="23420"/>
                  </a:cubicBezTo>
                  <a:cubicBezTo>
                    <a:pt x="40985" y="23420"/>
                    <a:pt x="22394" y="21247"/>
                    <a:pt x="14788" y="17142"/>
                  </a:cubicBezTo>
                  <a:cubicBezTo>
                    <a:pt x="10985" y="17142"/>
                    <a:pt x="18591" y="14969"/>
                    <a:pt x="18591" y="14969"/>
                  </a:cubicBezTo>
                  <a:close/>
                  <a:moveTo>
                    <a:pt x="63802" y="59879"/>
                  </a:moveTo>
                  <a:lnTo>
                    <a:pt x="63802" y="59879"/>
                  </a:lnTo>
                  <a:cubicBezTo>
                    <a:pt x="63802" y="68329"/>
                    <a:pt x="74788" y="72676"/>
                    <a:pt x="86197" y="79195"/>
                  </a:cubicBezTo>
                  <a:cubicBezTo>
                    <a:pt x="93380" y="83299"/>
                    <a:pt x="104788" y="89818"/>
                    <a:pt x="104788" y="91991"/>
                  </a:cubicBezTo>
                  <a:cubicBezTo>
                    <a:pt x="104788" y="100442"/>
                    <a:pt x="104788" y="100442"/>
                    <a:pt x="104788" y="100442"/>
                  </a:cubicBezTo>
                  <a:cubicBezTo>
                    <a:pt x="97183" y="98269"/>
                    <a:pt x="63802" y="94164"/>
                    <a:pt x="63802" y="85472"/>
                  </a:cubicBezTo>
                  <a:cubicBezTo>
                    <a:pt x="63802" y="81368"/>
                    <a:pt x="56197" y="81368"/>
                    <a:pt x="56197" y="85472"/>
                  </a:cubicBezTo>
                  <a:cubicBezTo>
                    <a:pt x="56197" y="94164"/>
                    <a:pt x="25774" y="98269"/>
                    <a:pt x="14788" y="100442"/>
                  </a:cubicBezTo>
                  <a:cubicBezTo>
                    <a:pt x="14788" y="91991"/>
                    <a:pt x="14788" y="91991"/>
                    <a:pt x="14788" y="91991"/>
                  </a:cubicBezTo>
                  <a:cubicBezTo>
                    <a:pt x="14788" y="89818"/>
                    <a:pt x="25774" y="83299"/>
                    <a:pt x="33802" y="79195"/>
                  </a:cubicBezTo>
                  <a:cubicBezTo>
                    <a:pt x="44788" y="72676"/>
                    <a:pt x="56197" y="68329"/>
                    <a:pt x="56197" y="59879"/>
                  </a:cubicBezTo>
                  <a:cubicBezTo>
                    <a:pt x="56197" y="53601"/>
                    <a:pt x="44788" y="49014"/>
                    <a:pt x="33802" y="42736"/>
                  </a:cubicBezTo>
                  <a:cubicBezTo>
                    <a:pt x="25774" y="38390"/>
                    <a:pt x="14788" y="31871"/>
                    <a:pt x="14788" y="27766"/>
                  </a:cubicBezTo>
                  <a:cubicBezTo>
                    <a:pt x="14788" y="21247"/>
                    <a:pt x="14788" y="21247"/>
                    <a:pt x="14788" y="21247"/>
                  </a:cubicBezTo>
                  <a:cubicBezTo>
                    <a:pt x="25774" y="25593"/>
                    <a:pt x="40985" y="27766"/>
                    <a:pt x="60000" y="27766"/>
                  </a:cubicBezTo>
                  <a:cubicBezTo>
                    <a:pt x="78591" y="27766"/>
                    <a:pt x="97183" y="25593"/>
                    <a:pt x="104788" y="21247"/>
                  </a:cubicBezTo>
                  <a:cubicBezTo>
                    <a:pt x="104788" y="27766"/>
                    <a:pt x="104788" y="27766"/>
                    <a:pt x="104788" y="27766"/>
                  </a:cubicBezTo>
                  <a:cubicBezTo>
                    <a:pt x="104788" y="31871"/>
                    <a:pt x="93380" y="38390"/>
                    <a:pt x="86197" y="42736"/>
                  </a:cubicBezTo>
                  <a:cubicBezTo>
                    <a:pt x="74788" y="49014"/>
                    <a:pt x="63802" y="53601"/>
                    <a:pt x="63802" y="5987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45700" tIns="22850" rIns="45700" bIns="22850" anchor="ctr" anchorCtr="0">
              <a:noAutofit/>
            </a:bodyPr>
            <a:lstStyle/>
            <a:p>
              <a:endParaRPr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grpSp>
        <p:nvGrpSpPr>
          <p:cNvPr id="2" name="组合 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917846" y="3867500"/>
            <a:ext cx="1509485" cy="1712408"/>
            <a:chOff x="1476646" y="3816700"/>
            <a:chExt cx="1509485" cy="1712408"/>
          </a:xfrm>
        </p:grpSpPr>
        <p:sp>
          <p:nvSpPr>
            <p:cNvPr id="19" name="文本框 18"/>
            <p:cNvSpPr txBox="1"/>
            <p:nvPr/>
          </p:nvSpPr>
          <p:spPr>
            <a:xfrm>
              <a:off x="1529112" y="4269274"/>
              <a:ext cx="140455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solidFill>
                    <a:schemeClr val="accent1"/>
                  </a:solidFill>
                  <a:cs typeface="等线" panose="02010600030101010101" charset="-122"/>
                </a:rPr>
                <a:t>PART ONE</a:t>
              </a:r>
              <a:endParaRPr lang="zh-CN" altLang="en-US" sz="2000" dirty="0">
                <a:solidFill>
                  <a:schemeClr val="accent1"/>
                </a:solidFill>
                <a:cs typeface="等线" panose="02010600030101010101" charset="-122"/>
              </a:endParaRPr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1476646" y="4598917"/>
              <a:ext cx="1509485" cy="9301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400">
                  <a:solidFill>
                    <a:schemeClr val="accent1"/>
                  </a:solidFill>
                  <a:latin typeface="华文细黑" panose="02010600040101010101" pitchFamily="2" charset="-122"/>
                  <a:ea typeface="华文细黑" panose="02010600040101010101" pitchFamily="2" charset="-122"/>
                  <a:cs typeface="+mn-ea"/>
                  <a:sym typeface="+mn-lt"/>
                </a:rPr>
                <a:t>“This is a sample text. insert your desired text here. </a:t>
              </a:r>
            </a:p>
          </p:txBody>
        </p:sp>
        <p:sp>
          <p:nvSpPr>
            <p:cNvPr id="41" name="Shape 5099"/>
            <p:cNvSpPr/>
            <p:nvPr/>
          </p:nvSpPr>
          <p:spPr>
            <a:xfrm>
              <a:off x="2047631" y="3816700"/>
              <a:ext cx="367514" cy="350772"/>
            </a:xfrm>
            <a:custGeom>
              <a:avLst/>
              <a:gdLst/>
              <a:ahLst/>
              <a:cxnLst/>
              <a:rect l="0" t="0" r="0" b="0"/>
              <a:pathLst>
                <a:path w="119999" h="119999" extrusionOk="0">
                  <a:moveTo>
                    <a:pt x="94490" y="91015"/>
                  </a:moveTo>
                  <a:lnTo>
                    <a:pt x="94490" y="91015"/>
                  </a:lnTo>
                  <a:cubicBezTo>
                    <a:pt x="78351" y="83972"/>
                    <a:pt x="73926" y="79097"/>
                    <a:pt x="73926" y="67178"/>
                  </a:cubicBezTo>
                  <a:cubicBezTo>
                    <a:pt x="73926" y="62302"/>
                    <a:pt x="78351" y="64740"/>
                    <a:pt x="80694" y="52821"/>
                  </a:cubicBezTo>
                  <a:cubicBezTo>
                    <a:pt x="80694" y="47674"/>
                    <a:pt x="85379" y="52821"/>
                    <a:pt x="85379" y="40902"/>
                  </a:cubicBezTo>
                  <a:cubicBezTo>
                    <a:pt x="85379" y="35756"/>
                    <a:pt x="83036" y="35756"/>
                    <a:pt x="83036" y="35756"/>
                  </a:cubicBezTo>
                  <a:cubicBezTo>
                    <a:pt x="83036" y="35756"/>
                    <a:pt x="85379" y="28713"/>
                    <a:pt x="85379" y="23837"/>
                  </a:cubicBezTo>
                  <a:cubicBezTo>
                    <a:pt x="85379" y="16523"/>
                    <a:pt x="83036" y="0"/>
                    <a:pt x="59869" y="0"/>
                  </a:cubicBezTo>
                  <a:cubicBezTo>
                    <a:pt x="36702" y="0"/>
                    <a:pt x="34360" y="16523"/>
                    <a:pt x="34360" y="23837"/>
                  </a:cubicBezTo>
                  <a:cubicBezTo>
                    <a:pt x="34360" y="28713"/>
                    <a:pt x="36702" y="35756"/>
                    <a:pt x="36702" y="35756"/>
                  </a:cubicBezTo>
                  <a:cubicBezTo>
                    <a:pt x="36702" y="35756"/>
                    <a:pt x="34360" y="35756"/>
                    <a:pt x="34360" y="40902"/>
                  </a:cubicBezTo>
                  <a:cubicBezTo>
                    <a:pt x="34360" y="52821"/>
                    <a:pt x="39045" y="47674"/>
                    <a:pt x="39045" y="52821"/>
                  </a:cubicBezTo>
                  <a:cubicBezTo>
                    <a:pt x="41388" y="64740"/>
                    <a:pt x="46073" y="62302"/>
                    <a:pt x="46073" y="67178"/>
                  </a:cubicBezTo>
                  <a:cubicBezTo>
                    <a:pt x="46073" y="79097"/>
                    <a:pt x="41388" y="83972"/>
                    <a:pt x="25249" y="91015"/>
                  </a:cubicBezTo>
                  <a:cubicBezTo>
                    <a:pt x="9110" y="95891"/>
                    <a:pt x="0" y="102934"/>
                    <a:pt x="0" y="107810"/>
                  </a:cubicBezTo>
                  <a:cubicBezTo>
                    <a:pt x="0" y="110248"/>
                    <a:pt x="0" y="119729"/>
                    <a:pt x="0" y="119729"/>
                  </a:cubicBezTo>
                  <a:cubicBezTo>
                    <a:pt x="59869" y="119729"/>
                    <a:pt x="59869" y="119729"/>
                    <a:pt x="59869" y="119729"/>
                  </a:cubicBezTo>
                  <a:cubicBezTo>
                    <a:pt x="119739" y="119729"/>
                    <a:pt x="119739" y="119729"/>
                    <a:pt x="119739" y="119729"/>
                  </a:cubicBezTo>
                  <a:cubicBezTo>
                    <a:pt x="119739" y="119729"/>
                    <a:pt x="119739" y="110248"/>
                    <a:pt x="119739" y="107810"/>
                  </a:cubicBezTo>
                  <a:cubicBezTo>
                    <a:pt x="119739" y="102934"/>
                    <a:pt x="110629" y="95891"/>
                    <a:pt x="94490" y="91015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45700" tIns="22850" rIns="45700" bIns="22850" anchor="ctr" anchorCtr="0">
              <a:noAutofit/>
            </a:bodyPr>
            <a:lstStyle/>
            <a:p>
              <a:endParaRPr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grpSp>
        <p:nvGrpSpPr>
          <p:cNvPr id="6" name="组合 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342798" y="3822312"/>
            <a:ext cx="1569660" cy="1732196"/>
            <a:chOff x="5264864" y="3822312"/>
            <a:chExt cx="1569660" cy="1732196"/>
          </a:xfrm>
        </p:grpSpPr>
        <p:sp>
          <p:nvSpPr>
            <p:cNvPr id="23" name="文本框 22"/>
            <p:cNvSpPr txBox="1"/>
            <p:nvPr/>
          </p:nvSpPr>
          <p:spPr>
            <a:xfrm>
              <a:off x="5264864" y="4269274"/>
              <a:ext cx="15696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solidFill>
                    <a:schemeClr val="accent1"/>
                  </a:solidFill>
                  <a:cs typeface="等线" panose="02010600030101010101" charset="-122"/>
                </a:rPr>
                <a:t>PART THREE</a:t>
              </a:r>
              <a:endParaRPr lang="zh-CN" altLang="en-US" sz="2000" dirty="0">
                <a:solidFill>
                  <a:schemeClr val="accent1"/>
                </a:solidFill>
                <a:cs typeface="等线" panose="02010600030101010101" charset="-122"/>
              </a:endParaRPr>
            </a:p>
          </p:txBody>
        </p:sp>
        <p:sp>
          <p:nvSpPr>
            <p:cNvPr id="24" name="Rectangle 15"/>
            <p:cNvSpPr>
              <a:spLocks noChangeArrowheads="1"/>
            </p:cNvSpPr>
            <p:nvPr/>
          </p:nvSpPr>
          <p:spPr bwMode="auto">
            <a:xfrm>
              <a:off x="5294952" y="4624317"/>
              <a:ext cx="1509485" cy="9301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400" dirty="0">
                  <a:solidFill>
                    <a:schemeClr val="accent1"/>
                  </a:solidFill>
                  <a:latin typeface="华文细黑" panose="02010600040101010101" pitchFamily="2" charset="-122"/>
                  <a:ea typeface="华文细黑" panose="02010600040101010101" pitchFamily="2" charset="-122"/>
                  <a:cs typeface="+mn-ea"/>
                  <a:sym typeface="+mn-lt"/>
                </a:rPr>
                <a:t>“This is a sample text. insert your desired text here. </a:t>
              </a:r>
            </a:p>
          </p:txBody>
        </p:sp>
        <p:sp>
          <p:nvSpPr>
            <p:cNvPr id="42" name="Shape 5144"/>
            <p:cNvSpPr/>
            <p:nvPr/>
          </p:nvSpPr>
          <p:spPr>
            <a:xfrm>
              <a:off x="5851911" y="3822312"/>
              <a:ext cx="395566" cy="339548"/>
            </a:xfrm>
            <a:custGeom>
              <a:avLst/>
              <a:gdLst/>
              <a:ahLst/>
              <a:cxnLst/>
              <a:rect l="0" t="0" r="0" b="0"/>
              <a:pathLst>
                <a:path w="119999" h="119999" extrusionOk="0">
                  <a:moveTo>
                    <a:pt x="55533" y="65070"/>
                  </a:moveTo>
                  <a:lnTo>
                    <a:pt x="55533" y="65070"/>
                  </a:lnTo>
                  <a:cubicBezTo>
                    <a:pt x="66156" y="65070"/>
                    <a:pt x="66156" y="65070"/>
                    <a:pt x="66156" y="65070"/>
                  </a:cubicBezTo>
                  <a:cubicBezTo>
                    <a:pt x="66156" y="77464"/>
                    <a:pt x="66156" y="77464"/>
                    <a:pt x="66156" y="77464"/>
                  </a:cubicBezTo>
                  <a:cubicBezTo>
                    <a:pt x="119758" y="77464"/>
                    <a:pt x="119758" y="77464"/>
                    <a:pt x="119758" y="77464"/>
                  </a:cubicBezTo>
                  <a:cubicBezTo>
                    <a:pt x="119758" y="77464"/>
                    <a:pt x="119758" y="47323"/>
                    <a:pt x="117585" y="37464"/>
                  </a:cubicBezTo>
                  <a:cubicBezTo>
                    <a:pt x="117585" y="27323"/>
                    <a:pt x="115412" y="22535"/>
                    <a:pt x="106961" y="22535"/>
                  </a:cubicBezTo>
                  <a:cubicBezTo>
                    <a:pt x="87645" y="22535"/>
                    <a:pt x="87645" y="22535"/>
                    <a:pt x="87645" y="22535"/>
                  </a:cubicBezTo>
                  <a:cubicBezTo>
                    <a:pt x="83299" y="14929"/>
                    <a:pt x="81368" y="7605"/>
                    <a:pt x="81368" y="7605"/>
                  </a:cubicBezTo>
                  <a:cubicBezTo>
                    <a:pt x="79195" y="2535"/>
                    <a:pt x="77022" y="0"/>
                    <a:pt x="72434" y="0"/>
                  </a:cubicBezTo>
                  <a:cubicBezTo>
                    <a:pt x="46841" y="0"/>
                    <a:pt x="46841" y="0"/>
                    <a:pt x="46841" y="0"/>
                  </a:cubicBezTo>
                  <a:cubicBezTo>
                    <a:pt x="42736" y="0"/>
                    <a:pt x="40563" y="2535"/>
                    <a:pt x="40563" y="7605"/>
                  </a:cubicBezTo>
                  <a:cubicBezTo>
                    <a:pt x="38390" y="7605"/>
                    <a:pt x="36217" y="14929"/>
                    <a:pt x="32112" y="22535"/>
                  </a:cubicBezTo>
                  <a:cubicBezTo>
                    <a:pt x="12796" y="22535"/>
                    <a:pt x="12796" y="22535"/>
                    <a:pt x="12796" y="22535"/>
                  </a:cubicBezTo>
                  <a:cubicBezTo>
                    <a:pt x="4104" y="22535"/>
                    <a:pt x="2173" y="27323"/>
                    <a:pt x="2173" y="37464"/>
                  </a:cubicBezTo>
                  <a:cubicBezTo>
                    <a:pt x="0" y="47323"/>
                    <a:pt x="0" y="77464"/>
                    <a:pt x="0" y="77464"/>
                  </a:cubicBezTo>
                  <a:cubicBezTo>
                    <a:pt x="55533" y="77464"/>
                    <a:pt x="55533" y="77464"/>
                    <a:pt x="55533" y="77464"/>
                  </a:cubicBezTo>
                  <a:lnTo>
                    <a:pt x="55533" y="65070"/>
                  </a:lnTo>
                  <a:close/>
                  <a:moveTo>
                    <a:pt x="44909" y="14929"/>
                  </a:moveTo>
                  <a:lnTo>
                    <a:pt x="44909" y="14929"/>
                  </a:lnTo>
                  <a:cubicBezTo>
                    <a:pt x="46841" y="12394"/>
                    <a:pt x="46841" y="10140"/>
                    <a:pt x="51187" y="10140"/>
                  </a:cubicBezTo>
                  <a:cubicBezTo>
                    <a:pt x="68571" y="10140"/>
                    <a:pt x="68571" y="10140"/>
                    <a:pt x="68571" y="10140"/>
                  </a:cubicBezTo>
                  <a:cubicBezTo>
                    <a:pt x="72434" y="10140"/>
                    <a:pt x="72434" y="12394"/>
                    <a:pt x="74607" y="14929"/>
                  </a:cubicBezTo>
                  <a:cubicBezTo>
                    <a:pt x="74607" y="14929"/>
                    <a:pt x="77022" y="20000"/>
                    <a:pt x="77022" y="22535"/>
                  </a:cubicBezTo>
                  <a:cubicBezTo>
                    <a:pt x="42736" y="22535"/>
                    <a:pt x="42736" y="22535"/>
                    <a:pt x="42736" y="22535"/>
                  </a:cubicBezTo>
                  <a:cubicBezTo>
                    <a:pt x="44909" y="20000"/>
                    <a:pt x="44909" y="14929"/>
                    <a:pt x="44909" y="14929"/>
                  </a:cubicBezTo>
                  <a:close/>
                  <a:moveTo>
                    <a:pt x="66156" y="100000"/>
                  </a:moveTo>
                  <a:lnTo>
                    <a:pt x="66156" y="100000"/>
                  </a:lnTo>
                  <a:cubicBezTo>
                    <a:pt x="55533" y="100000"/>
                    <a:pt x="55533" y="100000"/>
                    <a:pt x="55533" y="100000"/>
                  </a:cubicBezTo>
                  <a:cubicBezTo>
                    <a:pt x="55533" y="85070"/>
                    <a:pt x="55533" y="85070"/>
                    <a:pt x="55533" y="85070"/>
                  </a:cubicBezTo>
                  <a:cubicBezTo>
                    <a:pt x="2173" y="85070"/>
                    <a:pt x="2173" y="85070"/>
                    <a:pt x="2173" y="85070"/>
                  </a:cubicBezTo>
                  <a:cubicBezTo>
                    <a:pt x="2173" y="85070"/>
                    <a:pt x="4104" y="97464"/>
                    <a:pt x="4104" y="107323"/>
                  </a:cubicBezTo>
                  <a:cubicBezTo>
                    <a:pt x="4104" y="112394"/>
                    <a:pt x="6277" y="119718"/>
                    <a:pt x="14969" y="119718"/>
                  </a:cubicBezTo>
                  <a:cubicBezTo>
                    <a:pt x="104788" y="119718"/>
                    <a:pt x="104788" y="119718"/>
                    <a:pt x="104788" y="119718"/>
                  </a:cubicBezTo>
                  <a:cubicBezTo>
                    <a:pt x="113239" y="119718"/>
                    <a:pt x="115412" y="112394"/>
                    <a:pt x="115412" y="107323"/>
                  </a:cubicBezTo>
                  <a:cubicBezTo>
                    <a:pt x="115412" y="97464"/>
                    <a:pt x="117585" y="85070"/>
                    <a:pt x="117585" y="85070"/>
                  </a:cubicBezTo>
                  <a:cubicBezTo>
                    <a:pt x="66156" y="85070"/>
                    <a:pt x="66156" y="85070"/>
                    <a:pt x="66156" y="85070"/>
                  </a:cubicBezTo>
                  <a:lnTo>
                    <a:pt x="66156" y="1000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45700" tIns="22850" rIns="45700" bIns="22850" anchor="ctr" anchorCtr="0">
              <a:noAutofit/>
            </a:bodyPr>
            <a:lstStyle/>
            <a:p>
              <a:endParaRPr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grpSp>
        <p:nvGrpSpPr>
          <p:cNvPr id="5" name="组合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7615449" y="3840553"/>
            <a:ext cx="1526380" cy="1727860"/>
            <a:chOff x="7284315" y="3840553"/>
            <a:chExt cx="1526380" cy="1727860"/>
          </a:xfrm>
        </p:grpSpPr>
        <p:sp>
          <p:nvSpPr>
            <p:cNvPr id="25" name="文本框 24"/>
            <p:cNvSpPr txBox="1"/>
            <p:nvPr/>
          </p:nvSpPr>
          <p:spPr>
            <a:xfrm>
              <a:off x="7284315" y="4269274"/>
              <a:ext cx="152638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2000" dirty="0">
                  <a:solidFill>
                    <a:schemeClr val="accent1"/>
                  </a:solidFill>
                  <a:cs typeface="等线" panose="02010600030101010101" charset="-122"/>
                </a:rPr>
                <a:t>PART FOUR</a:t>
              </a:r>
            </a:p>
          </p:txBody>
        </p:sp>
        <p:sp>
          <p:nvSpPr>
            <p:cNvPr id="26" name="Rectangle 15"/>
            <p:cNvSpPr>
              <a:spLocks noChangeArrowheads="1"/>
            </p:cNvSpPr>
            <p:nvPr/>
          </p:nvSpPr>
          <p:spPr bwMode="auto">
            <a:xfrm>
              <a:off x="7292763" y="4598917"/>
              <a:ext cx="1509485" cy="969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400">
                  <a:solidFill>
                    <a:schemeClr val="accent1"/>
                  </a:solidFill>
                  <a:latin typeface="华文细黑" panose="02010600040101010101" pitchFamily="2" charset="-122"/>
                  <a:ea typeface="华文细黑" panose="02010600040101010101" pitchFamily="2" charset="-122"/>
                  <a:cs typeface="+mn-ea"/>
                  <a:sym typeface="+mn-lt"/>
                </a:rPr>
                <a:t>“This is a sample text. insert your desired text here. </a:t>
              </a:r>
            </a:p>
          </p:txBody>
        </p:sp>
        <p:sp>
          <p:nvSpPr>
            <p:cNvPr id="43" name="Shape 5147"/>
            <p:cNvSpPr/>
            <p:nvPr/>
          </p:nvSpPr>
          <p:spPr>
            <a:xfrm>
              <a:off x="7849722" y="3840553"/>
              <a:ext cx="395566" cy="303066"/>
            </a:xfrm>
            <a:custGeom>
              <a:avLst/>
              <a:gdLst/>
              <a:ahLst/>
              <a:cxnLst/>
              <a:rect l="0" t="0" r="0" b="0"/>
              <a:pathLst>
                <a:path w="119999" h="119999" extrusionOk="0">
                  <a:moveTo>
                    <a:pt x="19315" y="77905"/>
                  </a:moveTo>
                  <a:lnTo>
                    <a:pt x="19315" y="77905"/>
                  </a:lnTo>
                  <a:cubicBezTo>
                    <a:pt x="23420" y="92041"/>
                    <a:pt x="25593" y="97696"/>
                    <a:pt x="38390" y="103036"/>
                  </a:cubicBezTo>
                  <a:cubicBezTo>
                    <a:pt x="49014" y="111518"/>
                    <a:pt x="55533" y="119685"/>
                    <a:pt x="59879" y="119685"/>
                  </a:cubicBezTo>
                  <a:cubicBezTo>
                    <a:pt x="64225" y="119685"/>
                    <a:pt x="70744" y="111518"/>
                    <a:pt x="81368" y="105863"/>
                  </a:cubicBezTo>
                  <a:cubicBezTo>
                    <a:pt x="94164" y="97696"/>
                    <a:pt x="89818" y="97696"/>
                    <a:pt x="94164" y="81047"/>
                  </a:cubicBezTo>
                  <a:cubicBezTo>
                    <a:pt x="59879" y="103036"/>
                    <a:pt x="59879" y="103036"/>
                    <a:pt x="59879" y="103036"/>
                  </a:cubicBezTo>
                  <a:lnTo>
                    <a:pt x="19315" y="77905"/>
                  </a:lnTo>
                  <a:close/>
                  <a:moveTo>
                    <a:pt x="117585" y="38952"/>
                  </a:moveTo>
                  <a:lnTo>
                    <a:pt x="117585" y="38952"/>
                  </a:lnTo>
                  <a:cubicBezTo>
                    <a:pt x="66156" y="2827"/>
                    <a:pt x="66156" y="2827"/>
                    <a:pt x="66156" y="2827"/>
                  </a:cubicBezTo>
                  <a:cubicBezTo>
                    <a:pt x="64225" y="0"/>
                    <a:pt x="57706" y="0"/>
                    <a:pt x="53360" y="2827"/>
                  </a:cubicBezTo>
                  <a:cubicBezTo>
                    <a:pt x="2173" y="38952"/>
                    <a:pt x="2173" y="38952"/>
                    <a:pt x="2173" y="38952"/>
                  </a:cubicBezTo>
                  <a:cubicBezTo>
                    <a:pt x="0" y="41780"/>
                    <a:pt x="0" y="44607"/>
                    <a:pt x="2173" y="50261"/>
                  </a:cubicBezTo>
                  <a:cubicBezTo>
                    <a:pt x="53360" y="86387"/>
                    <a:pt x="53360" y="86387"/>
                    <a:pt x="53360" y="86387"/>
                  </a:cubicBezTo>
                  <a:cubicBezTo>
                    <a:pt x="57706" y="89214"/>
                    <a:pt x="64225" y="89214"/>
                    <a:pt x="66156" y="86387"/>
                  </a:cubicBezTo>
                  <a:cubicBezTo>
                    <a:pt x="98511" y="61256"/>
                    <a:pt x="98511" y="61256"/>
                    <a:pt x="98511" y="61256"/>
                  </a:cubicBezTo>
                  <a:cubicBezTo>
                    <a:pt x="64225" y="50261"/>
                    <a:pt x="64225" y="50261"/>
                    <a:pt x="64225" y="50261"/>
                  </a:cubicBezTo>
                  <a:cubicBezTo>
                    <a:pt x="62052" y="50261"/>
                    <a:pt x="62052" y="52774"/>
                    <a:pt x="59879" y="52774"/>
                  </a:cubicBezTo>
                  <a:cubicBezTo>
                    <a:pt x="53360" y="52774"/>
                    <a:pt x="49014" y="47434"/>
                    <a:pt x="49014" y="41780"/>
                  </a:cubicBezTo>
                  <a:cubicBezTo>
                    <a:pt x="49014" y="38952"/>
                    <a:pt x="53360" y="33612"/>
                    <a:pt x="59879" y="33612"/>
                  </a:cubicBezTo>
                  <a:cubicBezTo>
                    <a:pt x="64225" y="33612"/>
                    <a:pt x="68571" y="36125"/>
                    <a:pt x="70744" y="38952"/>
                  </a:cubicBezTo>
                  <a:cubicBezTo>
                    <a:pt x="106961" y="55602"/>
                    <a:pt x="106961" y="55602"/>
                    <a:pt x="106961" y="55602"/>
                  </a:cubicBezTo>
                  <a:cubicBezTo>
                    <a:pt x="117585" y="50261"/>
                    <a:pt x="117585" y="50261"/>
                    <a:pt x="117585" y="50261"/>
                  </a:cubicBezTo>
                  <a:cubicBezTo>
                    <a:pt x="119758" y="44607"/>
                    <a:pt x="119758" y="41780"/>
                    <a:pt x="117585" y="38952"/>
                  </a:cubicBezTo>
                  <a:close/>
                  <a:moveTo>
                    <a:pt x="102615" y="108691"/>
                  </a:moveTo>
                  <a:lnTo>
                    <a:pt x="102615" y="108691"/>
                  </a:lnTo>
                  <a:cubicBezTo>
                    <a:pt x="100442" y="111518"/>
                    <a:pt x="109134" y="114345"/>
                    <a:pt x="111307" y="105863"/>
                  </a:cubicBezTo>
                  <a:cubicBezTo>
                    <a:pt x="113239" y="66910"/>
                    <a:pt x="106961" y="55602"/>
                    <a:pt x="106961" y="55602"/>
                  </a:cubicBezTo>
                  <a:cubicBezTo>
                    <a:pt x="98511" y="61256"/>
                    <a:pt x="98511" y="61256"/>
                    <a:pt x="98511" y="61256"/>
                  </a:cubicBezTo>
                  <a:cubicBezTo>
                    <a:pt x="98511" y="61256"/>
                    <a:pt x="106961" y="69738"/>
                    <a:pt x="102615" y="10869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lIns="45700" tIns="22850" rIns="45700" bIns="22850" anchor="ctr" anchorCtr="0">
              <a:noAutofit/>
            </a:bodyPr>
            <a:lstStyle/>
            <a:p>
              <a:endParaRPr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8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 rot="16200000">
            <a:off x="7024869" y="1597098"/>
            <a:ext cx="7239005" cy="3696767"/>
            <a:chOff x="4113898" y="6210722"/>
            <a:chExt cx="15927654" cy="8133828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4113898" y="6210722"/>
              <a:ext cx="15927654" cy="8133828"/>
              <a:chOff x="4847978" y="5562650"/>
              <a:chExt cx="13163350" cy="6722172"/>
            </a:xfrm>
          </p:grpSpPr>
          <p:sp>
            <p:nvSpPr>
              <p:cNvPr id="14" name="Freeform 39"/>
              <p:cNvSpPr/>
              <p:nvPr/>
            </p:nvSpPr>
            <p:spPr bwMode="auto">
              <a:xfrm>
                <a:off x="6966220" y="5562650"/>
                <a:ext cx="4344560" cy="3869031"/>
              </a:xfrm>
              <a:custGeom>
                <a:avLst/>
                <a:gdLst>
                  <a:gd name="T0" fmla="*/ 173 w 173"/>
                  <a:gd name="T1" fmla="*/ 0 h 154"/>
                  <a:gd name="T2" fmla="*/ 172 w 173"/>
                  <a:gd name="T3" fmla="*/ 120 h 154"/>
                  <a:gd name="T4" fmla="*/ 148 w 173"/>
                  <a:gd name="T5" fmla="*/ 123 h 154"/>
                  <a:gd name="T6" fmla="*/ 126 w 173"/>
                  <a:gd name="T7" fmla="*/ 130 h 154"/>
                  <a:gd name="T8" fmla="*/ 105 w 173"/>
                  <a:gd name="T9" fmla="*/ 140 h 154"/>
                  <a:gd name="T10" fmla="*/ 87 w 173"/>
                  <a:gd name="T11" fmla="*/ 154 h 154"/>
                  <a:gd name="T12" fmla="*/ 0 w 173"/>
                  <a:gd name="T13" fmla="*/ 68 h 154"/>
                  <a:gd name="T14" fmla="*/ 37 w 173"/>
                  <a:gd name="T15" fmla="*/ 40 h 154"/>
                  <a:gd name="T16" fmla="*/ 79 w 173"/>
                  <a:gd name="T17" fmla="*/ 19 h 154"/>
                  <a:gd name="T18" fmla="*/ 124 w 173"/>
                  <a:gd name="T19" fmla="*/ 5 h 154"/>
                  <a:gd name="T20" fmla="*/ 173 w 173"/>
                  <a:gd name="T21" fmla="*/ 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3" h="154">
                    <a:moveTo>
                      <a:pt x="173" y="0"/>
                    </a:moveTo>
                    <a:cubicBezTo>
                      <a:pt x="172" y="120"/>
                      <a:pt x="172" y="120"/>
                      <a:pt x="172" y="120"/>
                    </a:cubicBezTo>
                    <a:cubicBezTo>
                      <a:pt x="164" y="120"/>
                      <a:pt x="156" y="121"/>
                      <a:pt x="148" y="123"/>
                    </a:cubicBezTo>
                    <a:cubicBezTo>
                      <a:pt x="141" y="124"/>
                      <a:pt x="133" y="127"/>
                      <a:pt x="126" y="130"/>
                    </a:cubicBezTo>
                    <a:cubicBezTo>
                      <a:pt x="119" y="133"/>
                      <a:pt x="112" y="136"/>
                      <a:pt x="105" y="140"/>
                    </a:cubicBezTo>
                    <a:cubicBezTo>
                      <a:pt x="99" y="144"/>
                      <a:pt x="92" y="149"/>
                      <a:pt x="87" y="154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11" y="58"/>
                      <a:pt x="24" y="48"/>
                      <a:pt x="37" y="40"/>
                    </a:cubicBezTo>
                    <a:cubicBezTo>
                      <a:pt x="50" y="32"/>
                      <a:pt x="64" y="25"/>
                      <a:pt x="79" y="19"/>
                    </a:cubicBezTo>
                    <a:cubicBezTo>
                      <a:pt x="93" y="13"/>
                      <a:pt x="108" y="8"/>
                      <a:pt x="124" y="5"/>
                    </a:cubicBezTo>
                    <a:cubicBezTo>
                      <a:pt x="140" y="2"/>
                      <a:pt x="156" y="0"/>
                      <a:pt x="17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15" name="Freeform 40"/>
              <p:cNvSpPr/>
              <p:nvPr/>
            </p:nvSpPr>
            <p:spPr bwMode="auto">
              <a:xfrm>
                <a:off x="9149312" y="8567084"/>
                <a:ext cx="2183091" cy="1966940"/>
              </a:xfrm>
              <a:custGeom>
                <a:avLst/>
                <a:gdLst>
                  <a:gd name="T0" fmla="*/ 85 w 87"/>
                  <a:gd name="T1" fmla="*/ 0 h 78"/>
                  <a:gd name="T2" fmla="*/ 87 w 87"/>
                  <a:gd name="T3" fmla="*/ 51 h 78"/>
                  <a:gd name="T4" fmla="*/ 68 w 87"/>
                  <a:gd name="T5" fmla="*/ 53 h 78"/>
                  <a:gd name="T6" fmla="*/ 51 w 87"/>
                  <a:gd name="T7" fmla="*/ 59 h 78"/>
                  <a:gd name="T8" fmla="*/ 35 w 87"/>
                  <a:gd name="T9" fmla="*/ 67 h 78"/>
                  <a:gd name="T10" fmla="*/ 21 w 87"/>
                  <a:gd name="T11" fmla="*/ 78 h 78"/>
                  <a:gd name="T12" fmla="*/ 0 w 87"/>
                  <a:gd name="T13" fmla="*/ 34 h 78"/>
                  <a:gd name="T14" fmla="*/ 18 w 87"/>
                  <a:gd name="T15" fmla="*/ 20 h 78"/>
                  <a:gd name="T16" fmla="*/ 39 w 87"/>
                  <a:gd name="T17" fmla="*/ 10 h 78"/>
                  <a:gd name="T18" fmla="*/ 61 w 87"/>
                  <a:gd name="T19" fmla="*/ 3 h 78"/>
                  <a:gd name="T20" fmla="*/ 85 w 87"/>
                  <a:gd name="T21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7" h="78">
                    <a:moveTo>
                      <a:pt x="85" y="0"/>
                    </a:moveTo>
                    <a:cubicBezTo>
                      <a:pt x="87" y="51"/>
                      <a:pt x="87" y="51"/>
                      <a:pt x="87" y="51"/>
                    </a:cubicBezTo>
                    <a:cubicBezTo>
                      <a:pt x="80" y="51"/>
                      <a:pt x="74" y="52"/>
                      <a:pt x="68" y="53"/>
                    </a:cubicBezTo>
                    <a:cubicBezTo>
                      <a:pt x="62" y="55"/>
                      <a:pt x="56" y="56"/>
                      <a:pt x="51" y="59"/>
                    </a:cubicBezTo>
                    <a:cubicBezTo>
                      <a:pt x="45" y="61"/>
                      <a:pt x="40" y="64"/>
                      <a:pt x="35" y="67"/>
                    </a:cubicBezTo>
                    <a:cubicBezTo>
                      <a:pt x="30" y="70"/>
                      <a:pt x="25" y="74"/>
                      <a:pt x="21" y="78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5" y="29"/>
                      <a:pt x="12" y="24"/>
                      <a:pt x="18" y="20"/>
                    </a:cubicBezTo>
                    <a:cubicBezTo>
                      <a:pt x="25" y="16"/>
                      <a:pt x="32" y="13"/>
                      <a:pt x="39" y="10"/>
                    </a:cubicBezTo>
                    <a:cubicBezTo>
                      <a:pt x="46" y="7"/>
                      <a:pt x="54" y="4"/>
                      <a:pt x="61" y="3"/>
                    </a:cubicBezTo>
                    <a:cubicBezTo>
                      <a:pt x="69" y="1"/>
                      <a:pt x="77" y="0"/>
                      <a:pt x="85" y="0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16" name="Freeform 41"/>
              <p:cNvSpPr/>
              <p:nvPr/>
            </p:nvSpPr>
            <p:spPr bwMode="auto">
              <a:xfrm>
                <a:off x="6966220" y="7270207"/>
                <a:ext cx="2723448" cy="3263825"/>
              </a:xfrm>
              <a:custGeom>
                <a:avLst/>
                <a:gdLst>
                  <a:gd name="T0" fmla="*/ 101 w 126"/>
                  <a:gd name="T1" fmla="*/ 100 h 151"/>
                  <a:gd name="T2" fmla="*/ 126 w 126"/>
                  <a:gd name="T3" fmla="*/ 151 h 151"/>
                  <a:gd name="T4" fmla="*/ 48 w 126"/>
                  <a:gd name="T5" fmla="*/ 73 h 151"/>
                  <a:gd name="T6" fmla="*/ 0 w 126"/>
                  <a:gd name="T7" fmla="*/ 0 h 151"/>
                  <a:gd name="T8" fmla="*/ 101 w 126"/>
                  <a:gd name="T9" fmla="*/ 10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51">
                    <a:moveTo>
                      <a:pt x="101" y="100"/>
                    </a:moveTo>
                    <a:lnTo>
                      <a:pt x="126" y="151"/>
                    </a:lnTo>
                    <a:lnTo>
                      <a:pt x="48" y="73"/>
                    </a:lnTo>
                    <a:lnTo>
                      <a:pt x="0" y="0"/>
                    </a:lnTo>
                    <a:lnTo>
                      <a:pt x="101" y="100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</a:schemeClr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17" name="Freeform 42"/>
              <p:cNvSpPr/>
              <p:nvPr/>
            </p:nvSpPr>
            <p:spPr bwMode="auto">
              <a:xfrm>
                <a:off x="4847978" y="7443124"/>
                <a:ext cx="4106793" cy="4301326"/>
              </a:xfrm>
              <a:custGeom>
                <a:avLst/>
                <a:gdLst>
                  <a:gd name="T0" fmla="*/ 78 w 164"/>
                  <a:gd name="T1" fmla="*/ 0 h 171"/>
                  <a:gd name="T2" fmla="*/ 164 w 164"/>
                  <a:gd name="T3" fmla="*/ 86 h 171"/>
                  <a:gd name="T4" fmla="*/ 150 w 164"/>
                  <a:gd name="T5" fmla="*/ 104 h 171"/>
                  <a:gd name="T6" fmla="*/ 139 w 164"/>
                  <a:gd name="T7" fmla="*/ 125 h 171"/>
                  <a:gd name="T8" fmla="*/ 131 w 164"/>
                  <a:gd name="T9" fmla="*/ 147 h 171"/>
                  <a:gd name="T10" fmla="*/ 127 w 164"/>
                  <a:gd name="T11" fmla="*/ 171 h 171"/>
                  <a:gd name="T12" fmla="*/ 0 w 164"/>
                  <a:gd name="T13" fmla="*/ 171 h 171"/>
                  <a:gd name="T14" fmla="*/ 7 w 164"/>
                  <a:gd name="T15" fmla="*/ 122 h 171"/>
                  <a:gd name="T16" fmla="*/ 23 w 164"/>
                  <a:gd name="T17" fmla="*/ 76 h 171"/>
                  <a:gd name="T18" fmla="*/ 47 w 164"/>
                  <a:gd name="T19" fmla="*/ 36 h 171"/>
                  <a:gd name="T20" fmla="*/ 78 w 164"/>
                  <a:gd name="T21" fmla="*/ 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4" h="171">
                    <a:moveTo>
                      <a:pt x="78" y="0"/>
                    </a:moveTo>
                    <a:cubicBezTo>
                      <a:pt x="164" y="86"/>
                      <a:pt x="164" y="86"/>
                      <a:pt x="164" y="86"/>
                    </a:cubicBezTo>
                    <a:cubicBezTo>
                      <a:pt x="159" y="92"/>
                      <a:pt x="154" y="98"/>
                      <a:pt x="150" y="104"/>
                    </a:cubicBezTo>
                    <a:cubicBezTo>
                      <a:pt x="146" y="111"/>
                      <a:pt x="142" y="117"/>
                      <a:pt x="139" y="125"/>
                    </a:cubicBezTo>
                    <a:cubicBezTo>
                      <a:pt x="135" y="132"/>
                      <a:pt x="133" y="139"/>
                      <a:pt x="131" y="147"/>
                    </a:cubicBezTo>
                    <a:cubicBezTo>
                      <a:pt x="129" y="155"/>
                      <a:pt x="128" y="163"/>
                      <a:pt x="127" y="171"/>
                    </a:cubicBezTo>
                    <a:cubicBezTo>
                      <a:pt x="0" y="171"/>
                      <a:pt x="0" y="171"/>
                      <a:pt x="0" y="171"/>
                    </a:cubicBezTo>
                    <a:cubicBezTo>
                      <a:pt x="1" y="154"/>
                      <a:pt x="3" y="138"/>
                      <a:pt x="7" y="122"/>
                    </a:cubicBezTo>
                    <a:cubicBezTo>
                      <a:pt x="11" y="106"/>
                      <a:pt x="17" y="91"/>
                      <a:pt x="23" y="76"/>
                    </a:cubicBezTo>
                    <a:cubicBezTo>
                      <a:pt x="30" y="62"/>
                      <a:pt x="38" y="48"/>
                      <a:pt x="47" y="36"/>
                    </a:cubicBezTo>
                    <a:cubicBezTo>
                      <a:pt x="56" y="23"/>
                      <a:pt x="67" y="11"/>
                      <a:pt x="78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18" name="Freeform 43"/>
              <p:cNvSpPr/>
              <p:nvPr/>
            </p:nvSpPr>
            <p:spPr bwMode="auto">
              <a:xfrm>
                <a:off x="8025345" y="9604592"/>
                <a:ext cx="1513029" cy="2680222"/>
              </a:xfrm>
              <a:custGeom>
                <a:avLst/>
                <a:gdLst>
                  <a:gd name="T0" fmla="*/ 33 w 60"/>
                  <a:gd name="T1" fmla="*/ 99 h 107"/>
                  <a:gd name="T2" fmla="*/ 34 w 60"/>
                  <a:gd name="T3" fmla="*/ 94 h 107"/>
                  <a:gd name="T4" fmla="*/ 35 w 60"/>
                  <a:gd name="T5" fmla="*/ 89 h 107"/>
                  <a:gd name="T6" fmla="*/ 37 w 60"/>
                  <a:gd name="T7" fmla="*/ 83 h 107"/>
                  <a:gd name="T8" fmla="*/ 38 w 60"/>
                  <a:gd name="T9" fmla="*/ 78 h 107"/>
                  <a:gd name="T10" fmla="*/ 40 w 60"/>
                  <a:gd name="T11" fmla="*/ 74 h 107"/>
                  <a:gd name="T12" fmla="*/ 42 w 60"/>
                  <a:gd name="T13" fmla="*/ 69 h 107"/>
                  <a:gd name="T14" fmla="*/ 44 w 60"/>
                  <a:gd name="T15" fmla="*/ 65 h 107"/>
                  <a:gd name="T16" fmla="*/ 47 w 60"/>
                  <a:gd name="T17" fmla="*/ 60 h 107"/>
                  <a:gd name="T18" fmla="*/ 49 w 60"/>
                  <a:gd name="T19" fmla="*/ 56 h 107"/>
                  <a:gd name="T20" fmla="*/ 52 w 60"/>
                  <a:gd name="T21" fmla="*/ 52 h 107"/>
                  <a:gd name="T22" fmla="*/ 55 w 60"/>
                  <a:gd name="T23" fmla="*/ 49 h 107"/>
                  <a:gd name="T24" fmla="*/ 57 w 60"/>
                  <a:gd name="T25" fmla="*/ 45 h 107"/>
                  <a:gd name="T26" fmla="*/ 37 w 60"/>
                  <a:gd name="T27" fmla="*/ 0 h 107"/>
                  <a:gd name="T28" fmla="*/ 32 w 60"/>
                  <a:gd name="T29" fmla="*/ 6 h 107"/>
                  <a:gd name="T30" fmla="*/ 28 w 60"/>
                  <a:gd name="T31" fmla="*/ 11 h 107"/>
                  <a:gd name="T32" fmla="*/ 25 w 60"/>
                  <a:gd name="T33" fmla="*/ 16 h 107"/>
                  <a:gd name="T34" fmla="*/ 23 w 60"/>
                  <a:gd name="T35" fmla="*/ 19 h 107"/>
                  <a:gd name="T36" fmla="*/ 19 w 60"/>
                  <a:gd name="T37" fmla="*/ 24 h 107"/>
                  <a:gd name="T38" fmla="*/ 17 w 60"/>
                  <a:gd name="T39" fmla="*/ 29 h 107"/>
                  <a:gd name="T40" fmla="*/ 14 w 60"/>
                  <a:gd name="T41" fmla="*/ 33 h 107"/>
                  <a:gd name="T42" fmla="*/ 12 w 60"/>
                  <a:gd name="T43" fmla="*/ 38 h 107"/>
                  <a:gd name="T44" fmla="*/ 11 w 60"/>
                  <a:gd name="T45" fmla="*/ 39 h 107"/>
                  <a:gd name="T46" fmla="*/ 9 w 60"/>
                  <a:gd name="T47" fmla="*/ 44 h 107"/>
                  <a:gd name="T48" fmla="*/ 7 w 60"/>
                  <a:gd name="T49" fmla="*/ 49 h 107"/>
                  <a:gd name="T50" fmla="*/ 5 w 60"/>
                  <a:gd name="T51" fmla="*/ 55 h 107"/>
                  <a:gd name="T52" fmla="*/ 4 w 60"/>
                  <a:gd name="T53" fmla="*/ 62 h 107"/>
                  <a:gd name="T54" fmla="*/ 2 w 60"/>
                  <a:gd name="T55" fmla="*/ 72 h 107"/>
                  <a:gd name="T56" fmla="*/ 1 w 60"/>
                  <a:gd name="T57" fmla="*/ 74 h 107"/>
                  <a:gd name="T58" fmla="*/ 1 w 60"/>
                  <a:gd name="T59" fmla="*/ 78 h 107"/>
                  <a:gd name="T60" fmla="*/ 1 w 60"/>
                  <a:gd name="T61" fmla="*/ 81 h 107"/>
                  <a:gd name="T62" fmla="*/ 32 w 60"/>
                  <a:gd name="T63" fmla="*/ 107 h 107"/>
                  <a:gd name="T64" fmla="*/ 33 w 60"/>
                  <a:gd name="T65" fmla="*/ 10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0" h="107">
                    <a:moveTo>
                      <a:pt x="33" y="102"/>
                    </a:moveTo>
                    <a:cubicBezTo>
                      <a:pt x="33" y="101"/>
                      <a:pt x="33" y="100"/>
                      <a:pt x="33" y="99"/>
                    </a:cubicBezTo>
                    <a:cubicBezTo>
                      <a:pt x="33" y="98"/>
                      <a:pt x="33" y="98"/>
                      <a:pt x="33" y="98"/>
                    </a:cubicBezTo>
                    <a:cubicBezTo>
                      <a:pt x="33" y="96"/>
                      <a:pt x="34" y="95"/>
                      <a:pt x="34" y="94"/>
                    </a:cubicBezTo>
                    <a:cubicBezTo>
                      <a:pt x="34" y="92"/>
                      <a:pt x="34" y="91"/>
                      <a:pt x="35" y="90"/>
                    </a:cubicBezTo>
                    <a:cubicBezTo>
                      <a:pt x="35" y="89"/>
                      <a:pt x="35" y="89"/>
                      <a:pt x="35" y="89"/>
                    </a:cubicBezTo>
                    <a:cubicBezTo>
                      <a:pt x="35" y="87"/>
                      <a:pt x="36" y="86"/>
                      <a:pt x="36" y="84"/>
                    </a:cubicBezTo>
                    <a:cubicBezTo>
                      <a:pt x="36" y="84"/>
                      <a:pt x="36" y="83"/>
                      <a:pt x="37" y="83"/>
                    </a:cubicBezTo>
                    <a:cubicBezTo>
                      <a:pt x="37" y="82"/>
                      <a:pt x="37" y="81"/>
                      <a:pt x="38" y="80"/>
                    </a:cubicBezTo>
                    <a:cubicBezTo>
                      <a:pt x="38" y="79"/>
                      <a:pt x="38" y="79"/>
                      <a:pt x="38" y="78"/>
                    </a:cubicBezTo>
                    <a:cubicBezTo>
                      <a:pt x="38" y="77"/>
                      <a:pt x="39" y="76"/>
                      <a:pt x="39" y="76"/>
                    </a:cubicBezTo>
                    <a:cubicBezTo>
                      <a:pt x="39" y="75"/>
                      <a:pt x="39" y="75"/>
                      <a:pt x="40" y="74"/>
                    </a:cubicBezTo>
                    <a:cubicBezTo>
                      <a:pt x="40" y="73"/>
                      <a:pt x="41" y="72"/>
                      <a:pt x="41" y="71"/>
                    </a:cubicBezTo>
                    <a:cubicBezTo>
                      <a:pt x="41" y="70"/>
                      <a:pt x="42" y="70"/>
                      <a:pt x="42" y="69"/>
                    </a:cubicBezTo>
                    <a:cubicBezTo>
                      <a:pt x="42" y="68"/>
                      <a:pt x="43" y="67"/>
                      <a:pt x="43" y="66"/>
                    </a:cubicBezTo>
                    <a:cubicBezTo>
                      <a:pt x="44" y="66"/>
                      <a:pt x="44" y="65"/>
                      <a:pt x="44" y="65"/>
                    </a:cubicBezTo>
                    <a:cubicBezTo>
                      <a:pt x="45" y="64"/>
                      <a:pt x="45" y="63"/>
                      <a:pt x="46" y="62"/>
                    </a:cubicBezTo>
                    <a:cubicBezTo>
                      <a:pt x="46" y="61"/>
                      <a:pt x="46" y="61"/>
                      <a:pt x="47" y="60"/>
                    </a:cubicBezTo>
                    <a:cubicBezTo>
                      <a:pt x="47" y="59"/>
                      <a:pt x="48" y="58"/>
                      <a:pt x="49" y="57"/>
                    </a:cubicBezTo>
                    <a:cubicBezTo>
                      <a:pt x="49" y="56"/>
                      <a:pt x="49" y="56"/>
                      <a:pt x="49" y="56"/>
                    </a:cubicBezTo>
                    <a:cubicBezTo>
                      <a:pt x="50" y="55"/>
                      <a:pt x="50" y="55"/>
                      <a:pt x="51" y="54"/>
                    </a:cubicBezTo>
                    <a:cubicBezTo>
                      <a:pt x="51" y="53"/>
                      <a:pt x="51" y="53"/>
                      <a:pt x="52" y="52"/>
                    </a:cubicBezTo>
                    <a:cubicBezTo>
                      <a:pt x="52" y="52"/>
                      <a:pt x="53" y="51"/>
                      <a:pt x="53" y="50"/>
                    </a:cubicBezTo>
                    <a:cubicBezTo>
                      <a:pt x="54" y="50"/>
                      <a:pt x="54" y="49"/>
                      <a:pt x="55" y="49"/>
                    </a:cubicBezTo>
                    <a:cubicBezTo>
                      <a:pt x="55" y="48"/>
                      <a:pt x="56" y="47"/>
                      <a:pt x="57" y="46"/>
                    </a:cubicBezTo>
                    <a:cubicBezTo>
                      <a:pt x="57" y="46"/>
                      <a:pt x="57" y="46"/>
                      <a:pt x="57" y="45"/>
                    </a:cubicBezTo>
                    <a:cubicBezTo>
                      <a:pt x="58" y="44"/>
                      <a:pt x="59" y="43"/>
                      <a:pt x="60" y="4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6" y="2"/>
                      <a:pt x="35" y="3"/>
                      <a:pt x="33" y="5"/>
                    </a:cubicBezTo>
                    <a:cubicBezTo>
                      <a:pt x="33" y="5"/>
                      <a:pt x="33" y="6"/>
                      <a:pt x="32" y="6"/>
                    </a:cubicBezTo>
                    <a:cubicBezTo>
                      <a:pt x="31" y="7"/>
                      <a:pt x="31" y="8"/>
                      <a:pt x="30" y="9"/>
                    </a:cubicBezTo>
                    <a:cubicBezTo>
                      <a:pt x="29" y="10"/>
                      <a:pt x="29" y="10"/>
                      <a:pt x="28" y="11"/>
                    </a:cubicBezTo>
                    <a:cubicBezTo>
                      <a:pt x="28" y="12"/>
                      <a:pt x="27" y="13"/>
                      <a:pt x="26" y="14"/>
                    </a:cubicBezTo>
                    <a:cubicBezTo>
                      <a:pt x="26" y="14"/>
                      <a:pt x="25" y="15"/>
                      <a:pt x="25" y="16"/>
                    </a:cubicBezTo>
                    <a:cubicBezTo>
                      <a:pt x="24" y="16"/>
                      <a:pt x="23" y="17"/>
                      <a:pt x="23" y="18"/>
                    </a:cubicBezTo>
                    <a:cubicBezTo>
                      <a:pt x="23" y="18"/>
                      <a:pt x="23" y="18"/>
                      <a:pt x="23" y="19"/>
                    </a:cubicBezTo>
                    <a:cubicBezTo>
                      <a:pt x="22" y="20"/>
                      <a:pt x="21" y="21"/>
                      <a:pt x="20" y="23"/>
                    </a:cubicBezTo>
                    <a:cubicBezTo>
                      <a:pt x="20" y="23"/>
                      <a:pt x="20" y="23"/>
                      <a:pt x="19" y="24"/>
                    </a:cubicBezTo>
                    <a:cubicBezTo>
                      <a:pt x="18" y="26"/>
                      <a:pt x="18" y="27"/>
                      <a:pt x="17" y="28"/>
                    </a:cubicBezTo>
                    <a:cubicBezTo>
                      <a:pt x="17" y="28"/>
                      <a:pt x="17" y="28"/>
                      <a:pt x="17" y="29"/>
                    </a:cubicBezTo>
                    <a:cubicBezTo>
                      <a:pt x="16" y="29"/>
                      <a:pt x="16" y="30"/>
                      <a:pt x="15" y="31"/>
                    </a:cubicBezTo>
                    <a:cubicBezTo>
                      <a:pt x="15" y="31"/>
                      <a:pt x="15" y="32"/>
                      <a:pt x="14" y="33"/>
                    </a:cubicBezTo>
                    <a:cubicBezTo>
                      <a:pt x="13" y="35"/>
                      <a:pt x="13" y="36"/>
                      <a:pt x="12" y="37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2" y="38"/>
                      <a:pt x="12" y="38"/>
                      <a:pt x="12" y="39"/>
                    </a:cubicBezTo>
                    <a:cubicBezTo>
                      <a:pt x="11" y="39"/>
                      <a:pt x="11" y="39"/>
                      <a:pt x="11" y="39"/>
                    </a:cubicBezTo>
                    <a:cubicBezTo>
                      <a:pt x="11" y="41"/>
                      <a:pt x="10" y="42"/>
                      <a:pt x="10" y="43"/>
                    </a:cubicBezTo>
                    <a:cubicBezTo>
                      <a:pt x="9" y="43"/>
                      <a:pt x="9" y="44"/>
                      <a:pt x="9" y="44"/>
                    </a:cubicBezTo>
                    <a:cubicBezTo>
                      <a:pt x="9" y="45"/>
                      <a:pt x="9" y="46"/>
                      <a:pt x="8" y="47"/>
                    </a:cubicBezTo>
                    <a:cubicBezTo>
                      <a:pt x="8" y="48"/>
                      <a:pt x="8" y="49"/>
                      <a:pt x="7" y="49"/>
                    </a:cubicBezTo>
                    <a:cubicBezTo>
                      <a:pt x="7" y="51"/>
                      <a:pt x="6" y="52"/>
                      <a:pt x="6" y="54"/>
                    </a:cubicBezTo>
                    <a:cubicBezTo>
                      <a:pt x="6" y="54"/>
                      <a:pt x="6" y="55"/>
                      <a:pt x="5" y="55"/>
                    </a:cubicBezTo>
                    <a:cubicBezTo>
                      <a:pt x="5" y="57"/>
                      <a:pt x="4" y="59"/>
                      <a:pt x="4" y="61"/>
                    </a:cubicBezTo>
                    <a:cubicBezTo>
                      <a:pt x="4" y="62"/>
                      <a:pt x="4" y="62"/>
                      <a:pt x="4" y="62"/>
                    </a:cubicBezTo>
                    <a:cubicBezTo>
                      <a:pt x="3" y="64"/>
                      <a:pt x="3" y="66"/>
                      <a:pt x="2" y="67"/>
                    </a:cubicBezTo>
                    <a:cubicBezTo>
                      <a:pt x="2" y="69"/>
                      <a:pt x="2" y="70"/>
                      <a:pt x="2" y="72"/>
                    </a:cubicBezTo>
                    <a:cubicBezTo>
                      <a:pt x="2" y="72"/>
                      <a:pt x="2" y="72"/>
                      <a:pt x="2" y="73"/>
                    </a:cubicBezTo>
                    <a:cubicBezTo>
                      <a:pt x="1" y="73"/>
                      <a:pt x="1" y="74"/>
                      <a:pt x="1" y="74"/>
                    </a:cubicBezTo>
                    <a:cubicBezTo>
                      <a:pt x="1" y="75"/>
                      <a:pt x="1" y="76"/>
                      <a:pt x="1" y="76"/>
                    </a:cubicBezTo>
                    <a:cubicBezTo>
                      <a:pt x="1" y="77"/>
                      <a:pt x="1" y="78"/>
                      <a:pt x="1" y="78"/>
                    </a:cubicBezTo>
                    <a:cubicBezTo>
                      <a:pt x="1" y="79"/>
                      <a:pt x="1" y="79"/>
                      <a:pt x="1" y="80"/>
                    </a:cubicBezTo>
                    <a:cubicBezTo>
                      <a:pt x="1" y="81"/>
                      <a:pt x="1" y="81"/>
                      <a:pt x="1" y="81"/>
                    </a:cubicBezTo>
                    <a:cubicBezTo>
                      <a:pt x="0" y="82"/>
                      <a:pt x="0" y="84"/>
                      <a:pt x="0" y="85"/>
                    </a:cubicBezTo>
                    <a:cubicBezTo>
                      <a:pt x="32" y="107"/>
                      <a:pt x="32" y="107"/>
                      <a:pt x="32" y="107"/>
                    </a:cubicBezTo>
                    <a:cubicBezTo>
                      <a:pt x="32" y="106"/>
                      <a:pt x="32" y="105"/>
                      <a:pt x="33" y="103"/>
                    </a:cubicBezTo>
                    <a:lnTo>
                      <a:pt x="33" y="102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19" name="Freeform 44"/>
              <p:cNvSpPr/>
              <p:nvPr/>
            </p:nvSpPr>
            <p:spPr bwMode="auto">
              <a:xfrm>
                <a:off x="4847978" y="11744451"/>
                <a:ext cx="3977100" cy="540371"/>
              </a:xfrm>
              <a:custGeom>
                <a:avLst/>
                <a:gdLst>
                  <a:gd name="T0" fmla="*/ 147 w 184"/>
                  <a:gd name="T1" fmla="*/ 0 h 25"/>
                  <a:gd name="T2" fmla="*/ 184 w 184"/>
                  <a:gd name="T3" fmla="*/ 25 h 25"/>
                  <a:gd name="T4" fmla="*/ 72 w 184"/>
                  <a:gd name="T5" fmla="*/ 25 h 25"/>
                  <a:gd name="T6" fmla="*/ 0 w 184"/>
                  <a:gd name="T7" fmla="*/ 0 h 25"/>
                  <a:gd name="T8" fmla="*/ 147 w 18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4" h="25">
                    <a:moveTo>
                      <a:pt x="147" y="0"/>
                    </a:moveTo>
                    <a:lnTo>
                      <a:pt x="184" y="25"/>
                    </a:lnTo>
                    <a:lnTo>
                      <a:pt x="72" y="25"/>
                    </a:lnTo>
                    <a:lnTo>
                      <a:pt x="0" y="0"/>
                    </a:lnTo>
                    <a:lnTo>
                      <a:pt x="147" y="0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20" name="Freeform 45"/>
              <p:cNvSpPr/>
              <p:nvPr/>
            </p:nvSpPr>
            <p:spPr bwMode="auto">
              <a:xfrm>
                <a:off x="11548533" y="5562650"/>
                <a:ext cx="4322935" cy="3869031"/>
              </a:xfrm>
              <a:custGeom>
                <a:avLst/>
                <a:gdLst>
                  <a:gd name="T0" fmla="*/ 0 w 173"/>
                  <a:gd name="T1" fmla="*/ 0 h 154"/>
                  <a:gd name="T2" fmla="*/ 49 w 173"/>
                  <a:gd name="T3" fmla="*/ 5 h 154"/>
                  <a:gd name="T4" fmla="*/ 94 w 173"/>
                  <a:gd name="T5" fmla="*/ 19 h 154"/>
                  <a:gd name="T6" fmla="*/ 136 w 173"/>
                  <a:gd name="T7" fmla="*/ 40 h 154"/>
                  <a:gd name="T8" fmla="*/ 173 w 173"/>
                  <a:gd name="T9" fmla="*/ 68 h 154"/>
                  <a:gd name="T10" fmla="*/ 86 w 173"/>
                  <a:gd name="T11" fmla="*/ 154 h 154"/>
                  <a:gd name="T12" fmla="*/ 68 w 173"/>
                  <a:gd name="T13" fmla="*/ 140 h 154"/>
                  <a:gd name="T14" fmla="*/ 47 w 173"/>
                  <a:gd name="T15" fmla="*/ 130 h 154"/>
                  <a:gd name="T16" fmla="*/ 24 w 173"/>
                  <a:gd name="T17" fmla="*/ 123 h 154"/>
                  <a:gd name="T18" fmla="*/ 0 w 173"/>
                  <a:gd name="T19" fmla="*/ 120 h 154"/>
                  <a:gd name="T20" fmla="*/ 0 w 173"/>
                  <a:gd name="T21" fmla="*/ 0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3" h="154">
                    <a:moveTo>
                      <a:pt x="0" y="0"/>
                    </a:moveTo>
                    <a:cubicBezTo>
                      <a:pt x="17" y="0"/>
                      <a:pt x="33" y="2"/>
                      <a:pt x="49" y="5"/>
                    </a:cubicBezTo>
                    <a:cubicBezTo>
                      <a:pt x="64" y="8"/>
                      <a:pt x="80" y="13"/>
                      <a:pt x="94" y="19"/>
                    </a:cubicBezTo>
                    <a:cubicBezTo>
                      <a:pt x="109" y="25"/>
                      <a:pt x="123" y="32"/>
                      <a:pt x="136" y="40"/>
                    </a:cubicBezTo>
                    <a:cubicBezTo>
                      <a:pt x="149" y="48"/>
                      <a:pt x="161" y="58"/>
                      <a:pt x="173" y="68"/>
                    </a:cubicBezTo>
                    <a:cubicBezTo>
                      <a:pt x="86" y="154"/>
                      <a:pt x="86" y="154"/>
                      <a:pt x="86" y="154"/>
                    </a:cubicBezTo>
                    <a:cubicBezTo>
                      <a:pt x="80" y="149"/>
                      <a:pt x="74" y="144"/>
                      <a:pt x="68" y="140"/>
                    </a:cubicBezTo>
                    <a:cubicBezTo>
                      <a:pt x="61" y="136"/>
                      <a:pt x="54" y="133"/>
                      <a:pt x="47" y="130"/>
                    </a:cubicBezTo>
                    <a:cubicBezTo>
                      <a:pt x="40" y="127"/>
                      <a:pt x="32" y="124"/>
                      <a:pt x="24" y="123"/>
                    </a:cubicBezTo>
                    <a:cubicBezTo>
                      <a:pt x="17" y="121"/>
                      <a:pt x="9" y="120"/>
                      <a:pt x="0" y="12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21" name="Freeform 46"/>
              <p:cNvSpPr/>
              <p:nvPr/>
            </p:nvSpPr>
            <p:spPr bwMode="auto">
              <a:xfrm>
                <a:off x="13169638" y="7270207"/>
                <a:ext cx="2701838" cy="3263825"/>
              </a:xfrm>
              <a:custGeom>
                <a:avLst/>
                <a:gdLst>
                  <a:gd name="T0" fmla="*/ 125 w 125"/>
                  <a:gd name="T1" fmla="*/ 0 h 151"/>
                  <a:gd name="T2" fmla="*/ 78 w 125"/>
                  <a:gd name="T3" fmla="*/ 73 h 151"/>
                  <a:gd name="T4" fmla="*/ 0 w 125"/>
                  <a:gd name="T5" fmla="*/ 151 h 151"/>
                  <a:gd name="T6" fmla="*/ 24 w 125"/>
                  <a:gd name="T7" fmla="*/ 100 h 151"/>
                  <a:gd name="T8" fmla="*/ 125 w 125"/>
                  <a:gd name="T9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" h="151">
                    <a:moveTo>
                      <a:pt x="125" y="0"/>
                    </a:moveTo>
                    <a:lnTo>
                      <a:pt x="78" y="73"/>
                    </a:lnTo>
                    <a:lnTo>
                      <a:pt x="0" y="151"/>
                    </a:lnTo>
                    <a:lnTo>
                      <a:pt x="24" y="100"/>
                    </a:lnTo>
                    <a:lnTo>
                      <a:pt x="125" y="0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22" name="Freeform 47"/>
              <p:cNvSpPr/>
              <p:nvPr/>
            </p:nvSpPr>
            <p:spPr bwMode="auto">
              <a:xfrm>
                <a:off x="11505300" y="8567084"/>
                <a:ext cx="2183091" cy="1966940"/>
              </a:xfrm>
              <a:custGeom>
                <a:avLst/>
                <a:gdLst>
                  <a:gd name="T0" fmla="*/ 87 w 87"/>
                  <a:gd name="T1" fmla="*/ 34 h 78"/>
                  <a:gd name="T2" fmla="*/ 66 w 87"/>
                  <a:gd name="T3" fmla="*/ 78 h 78"/>
                  <a:gd name="T4" fmla="*/ 52 w 87"/>
                  <a:gd name="T5" fmla="*/ 67 h 78"/>
                  <a:gd name="T6" fmla="*/ 36 w 87"/>
                  <a:gd name="T7" fmla="*/ 59 h 78"/>
                  <a:gd name="T8" fmla="*/ 19 w 87"/>
                  <a:gd name="T9" fmla="*/ 53 h 78"/>
                  <a:gd name="T10" fmla="*/ 0 w 87"/>
                  <a:gd name="T11" fmla="*/ 51 h 78"/>
                  <a:gd name="T12" fmla="*/ 1 w 87"/>
                  <a:gd name="T13" fmla="*/ 0 h 78"/>
                  <a:gd name="T14" fmla="*/ 25 w 87"/>
                  <a:gd name="T15" fmla="*/ 3 h 78"/>
                  <a:gd name="T16" fmla="*/ 48 w 87"/>
                  <a:gd name="T17" fmla="*/ 10 h 78"/>
                  <a:gd name="T18" fmla="*/ 69 w 87"/>
                  <a:gd name="T19" fmla="*/ 20 h 78"/>
                  <a:gd name="T20" fmla="*/ 87 w 87"/>
                  <a:gd name="T21" fmla="*/ 3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7" h="78">
                    <a:moveTo>
                      <a:pt x="87" y="34"/>
                    </a:moveTo>
                    <a:cubicBezTo>
                      <a:pt x="66" y="78"/>
                      <a:pt x="66" y="78"/>
                      <a:pt x="66" y="78"/>
                    </a:cubicBezTo>
                    <a:cubicBezTo>
                      <a:pt x="62" y="74"/>
                      <a:pt x="57" y="70"/>
                      <a:pt x="52" y="67"/>
                    </a:cubicBezTo>
                    <a:cubicBezTo>
                      <a:pt x="47" y="64"/>
                      <a:pt x="41" y="61"/>
                      <a:pt x="36" y="59"/>
                    </a:cubicBezTo>
                    <a:cubicBezTo>
                      <a:pt x="30" y="56"/>
                      <a:pt x="25" y="55"/>
                      <a:pt x="19" y="53"/>
                    </a:cubicBezTo>
                    <a:cubicBezTo>
                      <a:pt x="13" y="52"/>
                      <a:pt x="7" y="51"/>
                      <a:pt x="0" y="5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0" y="0"/>
                      <a:pt x="18" y="1"/>
                      <a:pt x="25" y="3"/>
                    </a:cubicBezTo>
                    <a:cubicBezTo>
                      <a:pt x="33" y="4"/>
                      <a:pt x="41" y="7"/>
                      <a:pt x="48" y="10"/>
                    </a:cubicBezTo>
                    <a:cubicBezTo>
                      <a:pt x="55" y="13"/>
                      <a:pt x="62" y="16"/>
                      <a:pt x="69" y="20"/>
                    </a:cubicBezTo>
                    <a:cubicBezTo>
                      <a:pt x="75" y="24"/>
                      <a:pt x="81" y="29"/>
                      <a:pt x="87" y="34"/>
                    </a:cubicBezTo>
                  </a:path>
                </a:pathLst>
              </a:custGeom>
              <a:solidFill>
                <a:schemeClr val="accent4">
                  <a:lumMod val="75000"/>
                </a:schemeClr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23" name="Freeform 48"/>
              <p:cNvSpPr/>
              <p:nvPr/>
            </p:nvSpPr>
            <p:spPr bwMode="auto">
              <a:xfrm>
                <a:off x="13882918" y="7443124"/>
                <a:ext cx="4128409" cy="4301326"/>
              </a:xfrm>
              <a:custGeom>
                <a:avLst/>
                <a:gdLst>
                  <a:gd name="T0" fmla="*/ 87 w 165"/>
                  <a:gd name="T1" fmla="*/ 0 h 171"/>
                  <a:gd name="T2" fmla="*/ 118 w 165"/>
                  <a:gd name="T3" fmla="*/ 36 h 171"/>
                  <a:gd name="T4" fmla="*/ 141 w 165"/>
                  <a:gd name="T5" fmla="*/ 76 h 171"/>
                  <a:gd name="T6" fmla="*/ 158 w 165"/>
                  <a:gd name="T7" fmla="*/ 122 h 171"/>
                  <a:gd name="T8" fmla="*/ 165 w 165"/>
                  <a:gd name="T9" fmla="*/ 171 h 171"/>
                  <a:gd name="T10" fmla="*/ 38 w 165"/>
                  <a:gd name="T11" fmla="*/ 171 h 171"/>
                  <a:gd name="T12" fmla="*/ 34 w 165"/>
                  <a:gd name="T13" fmla="*/ 147 h 171"/>
                  <a:gd name="T14" fmla="*/ 26 w 165"/>
                  <a:gd name="T15" fmla="*/ 125 h 171"/>
                  <a:gd name="T16" fmla="*/ 15 w 165"/>
                  <a:gd name="T17" fmla="*/ 104 h 171"/>
                  <a:gd name="T18" fmla="*/ 0 w 165"/>
                  <a:gd name="T19" fmla="*/ 86 h 171"/>
                  <a:gd name="T20" fmla="*/ 87 w 165"/>
                  <a:gd name="T21" fmla="*/ 0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5" h="171">
                    <a:moveTo>
                      <a:pt x="87" y="0"/>
                    </a:moveTo>
                    <a:cubicBezTo>
                      <a:pt x="98" y="11"/>
                      <a:pt x="108" y="23"/>
                      <a:pt x="118" y="36"/>
                    </a:cubicBezTo>
                    <a:cubicBezTo>
                      <a:pt x="127" y="48"/>
                      <a:pt x="135" y="62"/>
                      <a:pt x="141" y="76"/>
                    </a:cubicBezTo>
                    <a:cubicBezTo>
                      <a:pt x="148" y="91"/>
                      <a:pt x="154" y="106"/>
                      <a:pt x="158" y="122"/>
                    </a:cubicBezTo>
                    <a:cubicBezTo>
                      <a:pt x="162" y="138"/>
                      <a:pt x="164" y="154"/>
                      <a:pt x="165" y="171"/>
                    </a:cubicBezTo>
                    <a:cubicBezTo>
                      <a:pt x="38" y="171"/>
                      <a:pt x="38" y="171"/>
                      <a:pt x="38" y="171"/>
                    </a:cubicBezTo>
                    <a:cubicBezTo>
                      <a:pt x="37" y="163"/>
                      <a:pt x="36" y="155"/>
                      <a:pt x="34" y="147"/>
                    </a:cubicBezTo>
                    <a:cubicBezTo>
                      <a:pt x="32" y="139"/>
                      <a:pt x="29" y="132"/>
                      <a:pt x="26" y="125"/>
                    </a:cubicBezTo>
                    <a:cubicBezTo>
                      <a:pt x="23" y="117"/>
                      <a:pt x="19" y="111"/>
                      <a:pt x="15" y="104"/>
                    </a:cubicBezTo>
                    <a:cubicBezTo>
                      <a:pt x="11" y="98"/>
                      <a:pt x="6" y="92"/>
                      <a:pt x="0" y="86"/>
                    </a:cubicBezTo>
                    <a:lnTo>
                      <a:pt x="87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24" name="Freeform 49"/>
              <p:cNvSpPr/>
              <p:nvPr/>
            </p:nvSpPr>
            <p:spPr bwMode="auto">
              <a:xfrm>
                <a:off x="14034229" y="11744451"/>
                <a:ext cx="3977100" cy="540371"/>
              </a:xfrm>
              <a:custGeom>
                <a:avLst/>
                <a:gdLst>
                  <a:gd name="T0" fmla="*/ 184 w 184"/>
                  <a:gd name="T1" fmla="*/ 0 h 25"/>
                  <a:gd name="T2" fmla="*/ 112 w 184"/>
                  <a:gd name="T3" fmla="*/ 25 h 25"/>
                  <a:gd name="T4" fmla="*/ 0 w 184"/>
                  <a:gd name="T5" fmla="*/ 25 h 25"/>
                  <a:gd name="T6" fmla="*/ 37 w 184"/>
                  <a:gd name="T7" fmla="*/ 0 h 25"/>
                  <a:gd name="T8" fmla="*/ 184 w 184"/>
                  <a:gd name="T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4" h="25">
                    <a:moveTo>
                      <a:pt x="184" y="0"/>
                    </a:moveTo>
                    <a:lnTo>
                      <a:pt x="112" y="25"/>
                    </a:lnTo>
                    <a:lnTo>
                      <a:pt x="0" y="25"/>
                    </a:lnTo>
                    <a:lnTo>
                      <a:pt x="37" y="0"/>
                    </a:lnTo>
                    <a:lnTo>
                      <a:pt x="184" y="0"/>
                    </a:lnTo>
                    <a:close/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  <p:sp>
            <p:nvSpPr>
              <p:cNvPr id="25" name="Freeform 50"/>
              <p:cNvSpPr/>
              <p:nvPr/>
            </p:nvSpPr>
            <p:spPr bwMode="auto">
              <a:xfrm>
                <a:off x="13299329" y="9604592"/>
                <a:ext cx="1534645" cy="2680222"/>
              </a:xfrm>
              <a:custGeom>
                <a:avLst/>
                <a:gdLst>
                  <a:gd name="T0" fmla="*/ 61 w 61"/>
                  <a:gd name="T1" fmla="*/ 85 h 107"/>
                  <a:gd name="T2" fmla="*/ 29 w 61"/>
                  <a:gd name="T3" fmla="*/ 107 h 107"/>
                  <a:gd name="T4" fmla="*/ 26 w 61"/>
                  <a:gd name="T5" fmla="*/ 89 h 107"/>
                  <a:gd name="T6" fmla="*/ 20 w 61"/>
                  <a:gd name="T7" fmla="*/ 72 h 107"/>
                  <a:gd name="T8" fmla="*/ 11 w 61"/>
                  <a:gd name="T9" fmla="*/ 56 h 107"/>
                  <a:gd name="T10" fmla="*/ 0 w 61"/>
                  <a:gd name="T11" fmla="*/ 42 h 107"/>
                  <a:gd name="T12" fmla="*/ 23 w 61"/>
                  <a:gd name="T13" fmla="*/ 0 h 107"/>
                  <a:gd name="T14" fmla="*/ 38 w 61"/>
                  <a:gd name="T15" fmla="*/ 18 h 107"/>
                  <a:gd name="T16" fmla="*/ 49 w 61"/>
                  <a:gd name="T17" fmla="*/ 39 h 107"/>
                  <a:gd name="T18" fmla="*/ 57 w 61"/>
                  <a:gd name="T19" fmla="*/ 61 h 107"/>
                  <a:gd name="T20" fmla="*/ 61 w 61"/>
                  <a:gd name="T21" fmla="*/ 85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107">
                    <a:moveTo>
                      <a:pt x="61" y="85"/>
                    </a:moveTo>
                    <a:cubicBezTo>
                      <a:pt x="29" y="107"/>
                      <a:pt x="29" y="107"/>
                      <a:pt x="29" y="107"/>
                    </a:cubicBezTo>
                    <a:cubicBezTo>
                      <a:pt x="28" y="101"/>
                      <a:pt x="27" y="95"/>
                      <a:pt x="26" y="89"/>
                    </a:cubicBezTo>
                    <a:cubicBezTo>
                      <a:pt x="24" y="83"/>
                      <a:pt x="23" y="77"/>
                      <a:pt x="20" y="72"/>
                    </a:cubicBezTo>
                    <a:cubicBezTo>
                      <a:pt x="18" y="66"/>
                      <a:pt x="15" y="61"/>
                      <a:pt x="11" y="56"/>
                    </a:cubicBezTo>
                    <a:cubicBezTo>
                      <a:pt x="8" y="51"/>
                      <a:pt x="4" y="46"/>
                      <a:pt x="0" y="42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9" y="6"/>
                      <a:pt x="34" y="12"/>
                      <a:pt x="38" y="18"/>
                    </a:cubicBezTo>
                    <a:cubicBezTo>
                      <a:pt x="42" y="25"/>
                      <a:pt x="46" y="31"/>
                      <a:pt x="49" y="39"/>
                    </a:cubicBezTo>
                    <a:cubicBezTo>
                      <a:pt x="52" y="46"/>
                      <a:pt x="55" y="53"/>
                      <a:pt x="57" y="61"/>
                    </a:cubicBezTo>
                    <a:cubicBezTo>
                      <a:pt x="59" y="69"/>
                      <a:pt x="60" y="77"/>
                      <a:pt x="61" y="85"/>
                    </a:cubicBezTo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ru-RU" sz="900" dirty="0">
                  <a:cs typeface="等线" panose="02010600030101010101" charset="-122"/>
                </a:endParaRPr>
              </a:p>
            </p:txBody>
          </p:sp>
        </p:grpSp>
        <p:grpSp>
          <p:nvGrpSpPr>
            <p:cNvPr id="38" name="Группа 37"/>
            <p:cNvGrpSpPr/>
            <p:nvPr/>
          </p:nvGrpSpPr>
          <p:grpSpPr>
            <a:xfrm>
              <a:off x="9423092" y="7922729"/>
              <a:ext cx="1112228" cy="1084521"/>
              <a:chOff x="1767623" y="1269637"/>
              <a:chExt cx="289344" cy="282136"/>
            </a:xfrm>
          </p:grpSpPr>
          <p:sp>
            <p:nvSpPr>
              <p:cNvPr id="39" name="Freeform 996"/>
              <p:cNvSpPr/>
              <p:nvPr/>
            </p:nvSpPr>
            <p:spPr bwMode="auto">
              <a:xfrm>
                <a:off x="1767623" y="1269637"/>
                <a:ext cx="289344" cy="282136"/>
              </a:xfrm>
              <a:custGeom>
                <a:avLst/>
                <a:gdLst>
                  <a:gd name="T0" fmla="*/ 70 w 140"/>
                  <a:gd name="T1" fmla="*/ 0 h 137"/>
                  <a:gd name="T2" fmla="*/ 0 w 140"/>
                  <a:gd name="T3" fmla="*/ 60 h 137"/>
                  <a:gd name="T4" fmla="*/ 30 w 140"/>
                  <a:gd name="T5" fmla="*/ 109 h 137"/>
                  <a:gd name="T6" fmla="*/ 18 w 140"/>
                  <a:gd name="T7" fmla="*/ 137 h 137"/>
                  <a:gd name="T8" fmla="*/ 54 w 140"/>
                  <a:gd name="T9" fmla="*/ 119 h 137"/>
                  <a:gd name="T10" fmla="*/ 70 w 140"/>
                  <a:gd name="T11" fmla="*/ 120 h 137"/>
                  <a:gd name="T12" fmla="*/ 140 w 140"/>
                  <a:gd name="T13" fmla="*/ 60 h 137"/>
                  <a:gd name="T14" fmla="*/ 70 w 140"/>
                  <a:gd name="T15" fmla="*/ 0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40" h="137">
                    <a:moveTo>
                      <a:pt x="70" y="0"/>
                    </a:moveTo>
                    <a:cubicBezTo>
                      <a:pt x="31" y="0"/>
                      <a:pt x="0" y="27"/>
                      <a:pt x="0" y="60"/>
                    </a:cubicBezTo>
                    <a:cubicBezTo>
                      <a:pt x="0" y="81"/>
                      <a:pt x="12" y="99"/>
                      <a:pt x="30" y="109"/>
                    </a:cubicBezTo>
                    <a:cubicBezTo>
                      <a:pt x="25" y="119"/>
                      <a:pt x="17" y="137"/>
                      <a:pt x="18" y="137"/>
                    </a:cubicBezTo>
                    <a:cubicBezTo>
                      <a:pt x="18" y="137"/>
                      <a:pt x="42" y="125"/>
                      <a:pt x="54" y="119"/>
                    </a:cubicBezTo>
                    <a:cubicBezTo>
                      <a:pt x="59" y="120"/>
                      <a:pt x="65" y="120"/>
                      <a:pt x="70" y="120"/>
                    </a:cubicBezTo>
                    <a:cubicBezTo>
                      <a:pt x="109" y="120"/>
                      <a:pt x="140" y="93"/>
                      <a:pt x="140" y="60"/>
                    </a:cubicBezTo>
                    <a:cubicBezTo>
                      <a:pt x="140" y="27"/>
                      <a:pt x="109" y="0"/>
                      <a:pt x="70" y="0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40" name="Oval 997"/>
              <p:cNvSpPr>
                <a:spLocks noChangeArrowheads="1"/>
              </p:cNvSpPr>
              <p:nvPr/>
            </p:nvSpPr>
            <p:spPr bwMode="auto">
              <a:xfrm>
                <a:off x="1832493" y="1378784"/>
                <a:ext cx="39128" cy="39128"/>
              </a:xfrm>
              <a:prstGeom prst="ellips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41" name="Oval 998"/>
              <p:cNvSpPr>
                <a:spLocks noChangeArrowheads="1"/>
              </p:cNvSpPr>
              <p:nvPr/>
            </p:nvSpPr>
            <p:spPr bwMode="auto">
              <a:xfrm>
                <a:off x="1892215" y="1378784"/>
                <a:ext cx="41188" cy="39128"/>
              </a:xfrm>
              <a:prstGeom prst="ellips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42" name="Oval 999"/>
              <p:cNvSpPr>
                <a:spLocks noChangeArrowheads="1"/>
              </p:cNvSpPr>
              <p:nvPr/>
            </p:nvSpPr>
            <p:spPr bwMode="auto">
              <a:xfrm>
                <a:off x="1953997" y="1378784"/>
                <a:ext cx="39128" cy="39128"/>
              </a:xfrm>
              <a:prstGeom prst="ellips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</p:grpSp>
        <p:grpSp>
          <p:nvGrpSpPr>
            <p:cNvPr id="43" name="Группа 42"/>
            <p:cNvGrpSpPr/>
            <p:nvPr/>
          </p:nvGrpSpPr>
          <p:grpSpPr>
            <a:xfrm>
              <a:off x="6227290" y="10939226"/>
              <a:ext cx="847034" cy="1060769"/>
              <a:chOff x="3381150" y="1275815"/>
              <a:chExt cx="220354" cy="275957"/>
            </a:xfrm>
          </p:grpSpPr>
          <p:sp>
            <p:nvSpPr>
              <p:cNvPr id="44" name="Freeform 1007"/>
              <p:cNvSpPr/>
              <p:nvPr/>
            </p:nvSpPr>
            <p:spPr bwMode="auto">
              <a:xfrm>
                <a:off x="3414100" y="1275815"/>
                <a:ext cx="156513" cy="224473"/>
              </a:xfrm>
              <a:custGeom>
                <a:avLst/>
                <a:gdLst>
                  <a:gd name="T0" fmla="*/ 71 w 76"/>
                  <a:gd name="T1" fmla="*/ 56 h 109"/>
                  <a:gd name="T2" fmla="*/ 71 w 76"/>
                  <a:gd name="T3" fmla="*/ 56 h 109"/>
                  <a:gd name="T4" fmla="*/ 76 w 76"/>
                  <a:gd name="T5" fmla="*/ 38 h 109"/>
                  <a:gd name="T6" fmla="*/ 38 w 76"/>
                  <a:gd name="T7" fmla="*/ 0 h 109"/>
                  <a:gd name="T8" fmla="*/ 0 w 76"/>
                  <a:gd name="T9" fmla="*/ 38 h 109"/>
                  <a:gd name="T10" fmla="*/ 2 w 76"/>
                  <a:gd name="T11" fmla="*/ 52 h 109"/>
                  <a:gd name="T12" fmla="*/ 4 w 76"/>
                  <a:gd name="T13" fmla="*/ 56 h 109"/>
                  <a:gd name="T14" fmla="*/ 4 w 76"/>
                  <a:gd name="T15" fmla="*/ 56 h 109"/>
                  <a:gd name="T16" fmla="*/ 4 w 76"/>
                  <a:gd name="T17" fmla="*/ 56 h 109"/>
                  <a:gd name="T18" fmla="*/ 7 w 76"/>
                  <a:gd name="T19" fmla="*/ 61 h 109"/>
                  <a:gd name="T20" fmla="*/ 38 w 76"/>
                  <a:gd name="T21" fmla="*/ 109 h 109"/>
                  <a:gd name="T22" fmla="*/ 68 w 76"/>
                  <a:gd name="T23" fmla="*/ 61 h 109"/>
                  <a:gd name="T24" fmla="*/ 71 w 76"/>
                  <a:gd name="T25" fmla="*/ 5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109">
                    <a:moveTo>
                      <a:pt x="71" y="56"/>
                    </a:moveTo>
                    <a:cubicBezTo>
                      <a:pt x="71" y="56"/>
                      <a:pt x="71" y="56"/>
                      <a:pt x="71" y="56"/>
                    </a:cubicBezTo>
                    <a:cubicBezTo>
                      <a:pt x="74" y="51"/>
                      <a:pt x="76" y="45"/>
                      <a:pt x="76" y="38"/>
                    </a:cubicBezTo>
                    <a:cubicBezTo>
                      <a:pt x="76" y="17"/>
                      <a:pt x="59" y="0"/>
                      <a:pt x="38" y="0"/>
                    </a:cubicBezTo>
                    <a:cubicBezTo>
                      <a:pt x="17" y="0"/>
                      <a:pt x="0" y="17"/>
                      <a:pt x="0" y="38"/>
                    </a:cubicBezTo>
                    <a:cubicBezTo>
                      <a:pt x="0" y="43"/>
                      <a:pt x="1" y="48"/>
                      <a:pt x="2" y="52"/>
                    </a:cubicBezTo>
                    <a:cubicBezTo>
                      <a:pt x="3" y="53"/>
                      <a:pt x="4" y="55"/>
                      <a:pt x="4" y="56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4" y="56"/>
                      <a:pt x="4" y="56"/>
                      <a:pt x="4" y="56"/>
                    </a:cubicBezTo>
                    <a:cubicBezTo>
                      <a:pt x="5" y="58"/>
                      <a:pt x="6" y="59"/>
                      <a:pt x="7" y="61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68" y="61"/>
                      <a:pt x="68" y="61"/>
                      <a:pt x="68" y="61"/>
                    </a:cubicBezTo>
                    <a:cubicBezTo>
                      <a:pt x="69" y="59"/>
                      <a:pt x="70" y="58"/>
                      <a:pt x="71" y="56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45" name="Oval 1008"/>
              <p:cNvSpPr>
                <a:spLocks noChangeArrowheads="1"/>
              </p:cNvSpPr>
              <p:nvPr/>
            </p:nvSpPr>
            <p:spPr bwMode="auto">
              <a:xfrm>
                <a:off x="3455288" y="1321121"/>
                <a:ext cx="72078" cy="74138"/>
              </a:xfrm>
              <a:prstGeom prst="ellips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46" name="Freeform 1009"/>
              <p:cNvSpPr/>
              <p:nvPr/>
            </p:nvSpPr>
            <p:spPr bwMode="auto">
              <a:xfrm>
                <a:off x="3381150" y="1481753"/>
                <a:ext cx="220354" cy="70019"/>
              </a:xfrm>
              <a:custGeom>
                <a:avLst/>
                <a:gdLst>
                  <a:gd name="T0" fmla="*/ 76 w 107"/>
                  <a:gd name="T1" fmla="*/ 0 h 34"/>
                  <a:gd name="T2" fmla="*/ 107 w 107"/>
                  <a:gd name="T3" fmla="*/ 16 h 34"/>
                  <a:gd name="T4" fmla="*/ 54 w 107"/>
                  <a:gd name="T5" fmla="*/ 34 h 34"/>
                  <a:gd name="T6" fmla="*/ 0 w 107"/>
                  <a:gd name="T7" fmla="*/ 16 h 34"/>
                  <a:gd name="T8" fmla="*/ 32 w 107"/>
                  <a:gd name="T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7" h="34">
                    <a:moveTo>
                      <a:pt x="76" y="0"/>
                    </a:moveTo>
                    <a:cubicBezTo>
                      <a:pt x="94" y="3"/>
                      <a:pt x="107" y="9"/>
                      <a:pt x="107" y="16"/>
                    </a:cubicBezTo>
                    <a:cubicBezTo>
                      <a:pt x="107" y="26"/>
                      <a:pt x="83" y="34"/>
                      <a:pt x="54" y="34"/>
                    </a:cubicBezTo>
                    <a:cubicBezTo>
                      <a:pt x="24" y="34"/>
                      <a:pt x="0" y="26"/>
                      <a:pt x="0" y="16"/>
                    </a:cubicBezTo>
                    <a:cubicBezTo>
                      <a:pt x="0" y="9"/>
                      <a:pt x="13" y="3"/>
                      <a:pt x="32" y="0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47" name="Freeform 1011"/>
              <p:cNvSpPr/>
              <p:nvPr/>
            </p:nvSpPr>
            <p:spPr bwMode="auto">
              <a:xfrm>
                <a:off x="3461466" y="1510585"/>
                <a:ext cx="59722" cy="8238"/>
              </a:xfrm>
              <a:custGeom>
                <a:avLst/>
                <a:gdLst>
                  <a:gd name="T0" fmla="*/ 29 w 29"/>
                  <a:gd name="T1" fmla="*/ 0 h 4"/>
                  <a:gd name="T2" fmla="*/ 15 w 29"/>
                  <a:gd name="T3" fmla="*/ 4 h 4"/>
                  <a:gd name="T4" fmla="*/ 0 w 29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8" h="4">
                    <a:moveTo>
                      <a:pt x="29" y="0"/>
                    </a:moveTo>
                    <a:cubicBezTo>
                      <a:pt x="29" y="2"/>
                      <a:pt x="23" y="4"/>
                      <a:pt x="15" y="4"/>
                    </a:cubicBezTo>
                    <a:cubicBezTo>
                      <a:pt x="7" y="4"/>
                      <a:pt x="0" y="2"/>
                      <a:pt x="0" y="0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</p:grpSp>
        <p:grpSp>
          <p:nvGrpSpPr>
            <p:cNvPr id="48" name="Группа 47"/>
            <p:cNvGrpSpPr/>
            <p:nvPr/>
          </p:nvGrpSpPr>
          <p:grpSpPr>
            <a:xfrm>
              <a:off x="13747578" y="8082242"/>
              <a:ext cx="1112228" cy="1037021"/>
              <a:chOff x="949018" y="3322843"/>
              <a:chExt cx="289344" cy="269779"/>
            </a:xfrm>
          </p:grpSpPr>
          <p:sp>
            <p:nvSpPr>
              <p:cNvPr id="49" name="Freeform 1650"/>
              <p:cNvSpPr/>
              <p:nvPr/>
            </p:nvSpPr>
            <p:spPr bwMode="auto">
              <a:xfrm>
                <a:off x="1162164" y="3502009"/>
                <a:ext cx="39128" cy="20594"/>
              </a:xfrm>
              <a:custGeom>
                <a:avLst/>
                <a:gdLst>
                  <a:gd name="T0" fmla="*/ 0 w 38"/>
                  <a:gd name="T1" fmla="*/ 20 h 20"/>
                  <a:gd name="T2" fmla="*/ 20 w 38"/>
                  <a:gd name="T3" fmla="*/ 0 h 20"/>
                  <a:gd name="T4" fmla="*/ 38 w 38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38" h="20">
                    <a:moveTo>
                      <a:pt x="0" y="20"/>
                    </a:moveTo>
                    <a:lnTo>
                      <a:pt x="20" y="0"/>
                    </a:lnTo>
                    <a:lnTo>
                      <a:pt x="38" y="20"/>
                    </a:ln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50" name="Line 1651"/>
              <p:cNvSpPr>
                <a:spLocks noChangeShapeType="1"/>
              </p:cNvSpPr>
              <p:nvPr/>
            </p:nvSpPr>
            <p:spPr bwMode="auto">
              <a:xfrm flipH="1">
                <a:off x="1182758" y="3502009"/>
                <a:ext cx="0" cy="49425"/>
              </a:xfrm>
              <a:prstGeom prst="lin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51" name="Line 1652"/>
              <p:cNvSpPr>
                <a:spLocks noChangeShapeType="1"/>
              </p:cNvSpPr>
              <p:nvPr/>
            </p:nvSpPr>
            <p:spPr bwMode="auto">
              <a:xfrm>
                <a:off x="1168342" y="3553494"/>
                <a:ext cx="26772" cy="0"/>
              </a:xfrm>
              <a:prstGeom prst="lin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52" name="Freeform 1653"/>
              <p:cNvSpPr/>
              <p:nvPr/>
            </p:nvSpPr>
            <p:spPr bwMode="auto">
              <a:xfrm>
                <a:off x="949018" y="3392862"/>
                <a:ext cx="289344" cy="199760"/>
              </a:xfrm>
              <a:custGeom>
                <a:avLst/>
                <a:gdLst>
                  <a:gd name="T0" fmla="*/ 140 w 140"/>
                  <a:gd name="T1" fmla="*/ 0 h 97"/>
                  <a:gd name="T2" fmla="*/ 140 w 140"/>
                  <a:gd name="T3" fmla="*/ 73 h 97"/>
                  <a:gd name="T4" fmla="*/ 140 w 140"/>
                  <a:gd name="T5" fmla="*/ 0 h 97"/>
                  <a:gd name="T6" fmla="*/ 0 w 140"/>
                  <a:gd name="T7" fmla="*/ 0 h 97"/>
                  <a:gd name="T8" fmla="*/ 0 w 140"/>
                  <a:gd name="T9" fmla="*/ 80 h 97"/>
                  <a:gd name="T10" fmla="*/ 17 w 140"/>
                  <a:gd name="T11" fmla="*/ 97 h 97"/>
                  <a:gd name="T12" fmla="*/ 123 w 140"/>
                  <a:gd name="T13" fmla="*/ 97 h 97"/>
                  <a:gd name="T14" fmla="*/ 140 w 140"/>
                  <a:gd name="T15" fmla="*/ 80 h 97"/>
                  <a:gd name="T16" fmla="*/ 140 w 140"/>
                  <a:gd name="T17" fmla="*/ 74 h 97"/>
                  <a:gd name="T18" fmla="*/ 140 w 140"/>
                  <a:gd name="T19" fmla="*/ 0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0" h="97">
                    <a:moveTo>
                      <a:pt x="140" y="0"/>
                    </a:moveTo>
                    <a:cubicBezTo>
                      <a:pt x="140" y="73"/>
                      <a:pt x="140" y="73"/>
                      <a:pt x="140" y="73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80"/>
                      <a:pt x="0" y="80"/>
                      <a:pt x="0" y="80"/>
                    </a:cubicBezTo>
                    <a:cubicBezTo>
                      <a:pt x="0" y="89"/>
                      <a:pt x="7" y="97"/>
                      <a:pt x="17" y="97"/>
                    </a:cubicBezTo>
                    <a:cubicBezTo>
                      <a:pt x="123" y="97"/>
                      <a:pt x="123" y="97"/>
                      <a:pt x="123" y="97"/>
                    </a:cubicBezTo>
                    <a:cubicBezTo>
                      <a:pt x="132" y="97"/>
                      <a:pt x="140" y="89"/>
                      <a:pt x="140" y="80"/>
                    </a:cubicBezTo>
                    <a:cubicBezTo>
                      <a:pt x="140" y="74"/>
                      <a:pt x="140" y="74"/>
                      <a:pt x="140" y="74"/>
                    </a:cubicBezTo>
                    <a:cubicBezTo>
                      <a:pt x="140" y="0"/>
                      <a:pt x="140" y="0"/>
                      <a:pt x="140" y="0"/>
                    </a:cubicBezTo>
                    <a:close/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53" name="Freeform 1654"/>
              <p:cNvSpPr/>
              <p:nvPr/>
            </p:nvSpPr>
            <p:spPr bwMode="auto">
              <a:xfrm>
                <a:off x="949018" y="3322843"/>
                <a:ext cx="289344" cy="70019"/>
              </a:xfrm>
              <a:custGeom>
                <a:avLst/>
                <a:gdLst>
                  <a:gd name="T0" fmla="*/ 126 w 281"/>
                  <a:gd name="T1" fmla="*/ 0 h 68"/>
                  <a:gd name="T2" fmla="*/ 26 w 281"/>
                  <a:gd name="T3" fmla="*/ 0 h 68"/>
                  <a:gd name="T4" fmla="*/ 0 w 281"/>
                  <a:gd name="T5" fmla="*/ 68 h 68"/>
                  <a:gd name="T6" fmla="*/ 281 w 281"/>
                  <a:gd name="T7" fmla="*/ 68 h 68"/>
                  <a:gd name="T8" fmla="*/ 253 w 281"/>
                  <a:gd name="T9" fmla="*/ 0 h 68"/>
                  <a:gd name="T10" fmla="*/ 112 w 281"/>
                  <a:gd name="T11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1" h="68">
                    <a:moveTo>
                      <a:pt x="126" y="0"/>
                    </a:moveTo>
                    <a:lnTo>
                      <a:pt x="26" y="0"/>
                    </a:lnTo>
                    <a:lnTo>
                      <a:pt x="0" y="68"/>
                    </a:lnTo>
                    <a:lnTo>
                      <a:pt x="281" y="68"/>
                    </a:lnTo>
                    <a:lnTo>
                      <a:pt x="253" y="0"/>
                    </a:lnTo>
                    <a:lnTo>
                      <a:pt x="112" y="0"/>
                    </a:ln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54" name="Rectangle 1655"/>
              <p:cNvSpPr>
                <a:spLocks noChangeArrowheads="1"/>
              </p:cNvSpPr>
              <p:nvPr/>
            </p:nvSpPr>
            <p:spPr bwMode="auto">
              <a:xfrm>
                <a:off x="1045809" y="3392862"/>
                <a:ext cx="94732" cy="74138"/>
              </a:xfrm>
              <a:prstGeom prst="rect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55" name="Freeform 1656"/>
              <p:cNvSpPr/>
              <p:nvPr/>
            </p:nvSpPr>
            <p:spPr bwMode="auto">
              <a:xfrm>
                <a:off x="1045809" y="3322843"/>
                <a:ext cx="94732" cy="70019"/>
              </a:xfrm>
              <a:custGeom>
                <a:avLst/>
                <a:gdLst>
                  <a:gd name="T0" fmla="*/ 92 w 92"/>
                  <a:gd name="T1" fmla="*/ 68 h 68"/>
                  <a:gd name="T2" fmla="*/ 0 w 92"/>
                  <a:gd name="T3" fmla="*/ 68 h 68"/>
                  <a:gd name="T4" fmla="*/ 8 w 92"/>
                  <a:gd name="T5" fmla="*/ 0 h 68"/>
                  <a:gd name="T6" fmla="*/ 82 w 92"/>
                  <a:gd name="T7" fmla="*/ 0 h 68"/>
                  <a:gd name="T8" fmla="*/ 92 w 92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68">
                    <a:moveTo>
                      <a:pt x="92" y="68"/>
                    </a:moveTo>
                    <a:lnTo>
                      <a:pt x="0" y="68"/>
                    </a:lnTo>
                    <a:lnTo>
                      <a:pt x="8" y="0"/>
                    </a:lnTo>
                    <a:lnTo>
                      <a:pt x="82" y="0"/>
                    </a:lnTo>
                    <a:lnTo>
                      <a:pt x="92" y="68"/>
                    </a:lnTo>
                    <a:close/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</p:grpSp>
        <p:grpSp>
          <p:nvGrpSpPr>
            <p:cNvPr id="56" name="Группа 55"/>
            <p:cNvGrpSpPr/>
            <p:nvPr/>
          </p:nvGrpSpPr>
          <p:grpSpPr>
            <a:xfrm>
              <a:off x="16969584" y="11276238"/>
              <a:ext cx="1227010" cy="834801"/>
              <a:chOff x="4896857" y="1312884"/>
              <a:chExt cx="351125" cy="238889"/>
            </a:xfrm>
          </p:grpSpPr>
          <p:sp>
            <p:nvSpPr>
              <p:cNvPr id="57" name="Freeform 1018"/>
              <p:cNvSpPr/>
              <p:nvPr/>
            </p:nvSpPr>
            <p:spPr bwMode="auto">
              <a:xfrm>
                <a:off x="4925688" y="1312884"/>
                <a:ext cx="291403" cy="195641"/>
              </a:xfrm>
              <a:custGeom>
                <a:avLst/>
                <a:gdLst>
                  <a:gd name="T0" fmla="*/ 0 w 141"/>
                  <a:gd name="T1" fmla="*/ 95 h 95"/>
                  <a:gd name="T2" fmla="*/ 0 w 141"/>
                  <a:gd name="T3" fmla="*/ 9 h 95"/>
                  <a:gd name="T4" fmla="*/ 10 w 141"/>
                  <a:gd name="T5" fmla="*/ 0 h 95"/>
                  <a:gd name="T6" fmla="*/ 132 w 141"/>
                  <a:gd name="T7" fmla="*/ 0 h 95"/>
                  <a:gd name="T8" fmla="*/ 141 w 141"/>
                  <a:gd name="T9" fmla="*/ 9 h 95"/>
                  <a:gd name="T10" fmla="*/ 141 w 141"/>
                  <a:gd name="T11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95">
                    <a:moveTo>
                      <a:pt x="0" y="95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4" y="0"/>
                      <a:pt x="10" y="0"/>
                    </a:cubicBezTo>
                    <a:cubicBezTo>
                      <a:pt x="132" y="0"/>
                      <a:pt x="132" y="0"/>
                      <a:pt x="132" y="0"/>
                    </a:cubicBezTo>
                    <a:cubicBezTo>
                      <a:pt x="137" y="0"/>
                      <a:pt x="141" y="4"/>
                      <a:pt x="141" y="9"/>
                    </a:cubicBezTo>
                    <a:cubicBezTo>
                      <a:pt x="141" y="95"/>
                      <a:pt x="141" y="95"/>
                      <a:pt x="141" y="95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58" name="Freeform 1019"/>
              <p:cNvSpPr/>
              <p:nvPr/>
            </p:nvSpPr>
            <p:spPr bwMode="auto">
              <a:xfrm>
                <a:off x="4896857" y="1510585"/>
                <a:ext cx="351125" cy="41188"/>
              </a:xfrm>
              <a:custGeom>
                <a:avLst/>
                <a:gdLst>
                  <a:gd name="T0" fmla="*/ 9 w 170"/>
                  <a:gd name="T1" fmla="*/ 20 h 20"/>
                  <a:gd name="T2" fmla="*/ 5 w 170"/>
                  <a:gd name="T3" fmla="*/ 18 h 20"/>
                  <a:gd name="T4" fmla="*/ 0 w 170"/>
                  <a:gd name="T5" fmla="*/ 6 h 20"/>
                  <a:gd name="T6" fmla="*/ 0 w 170"/>
                  <a:gd name="T7" fmla="*/ 2 h 20"/>
                  <a:gd name="T8" fmla="*/ 4 w 170"/>
                  <a:gd name="T9" fmla="*/ 0 h 20"/>
                  <a:gd name="T10" fmla="*/ 166 w 170"/>
                  <a:gd name="T11" fmla="*/ 0 h 20"/>
                  <a:gd name="T12" fmla="*/ 169 w 170"/>
                  <a:gd name="T13" fmla="*/ 2 h 20"/>
                  <a:gd name="T14" fmla="*/ 169 w 170"/>
                  <a:gd name="T15" fmla="*/ 6 h 20"/>
                  <a:gd name="T16" fmla="*/ 164 w 170"/>
                  <a:gd name="T17" fmla="*/ 18 h 20"/>
                  <a:gd name="T18" fmla="*/ 161 w 170"/>
                  <a:gd name="T19" fmla="*/ 20 h 20"/>
                  <a:gd name="T20" fmla="*/ 9 w 170"/>
                  <a:gd name="T21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0" h="20">
                    <a:moveTo>
                      <a:pt x="9" y="20"/>
                    </a:moveTo>
                    <a:cubicBezTo>
                      <a:pt x="7" y="20"/>
                      <a:pt x="6" y="19"/>
                      <a:pt x="5" y="1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5"/>
                      <a:pt x="0" y="3"/>
                      <a:pt x="0" y="2"/>
                    </a:cubicBezTo>
                    <a:cubicBezTo>
                      <a:pt x="1" y="1"/>
                      <a:pt x="2" y="0"/>
                      <a:pt x="4" y="0"/>
                    </a:cubicBezTo>
                    <a:cubicBezTo>
                      <a:pt x="166" y="0"/>
                      <a:pt x="166" y="0"/>
                      <a:pt x="166" y="0"/>
                    </a:cubicBezTo>
                    <a:cubicBezTo>
                      <a:pt x="167" y="0"/>
                      <a:pt x="168" y="1"/>
                      <a:pt x="169" y="2"/>
                    </a:cubicBezTo>
                    <a:cubicBezTo>
                      <a:pt x="170" y="3"/>
                      <a:pt x="170" y="5"/>
                      <a:pt x="169" y="6"/>
                    </a:cubicBezTo>
                    <a:cubicBezTo>
                      <a:pt x="164" y="18"/>
                      <a:pt x="164" y="18"/>
                      <a:pt x="164" y="18"/>
                    </a:cubicBezTo>
                    <a:cubicBezTo>
                      <a:pt x="163" y="19"/>
                      <a:pt x="162" y="20"/>
                      <a:pt x="161" y="20"/>
                    </a:cubicBezTo>
                    <a:lnTo>
                      <a:pt x="9" y="20"/>
                    </a:lnTo>
                    <a:close/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59" name="Line 1020"/>
              <p:cNvSpPr>
                <a:spLocks noChangeShapeType="1"/>
              </p:cNvSpPr>
              <p:nvPr/>
            </p:nvSpPr>
            <p:spPr bwMode="auto">
              <a:xfrm>
                <a:off x="5054400" y="1531179"/>
                <a:ext cx="35010" cy="0"/>
              </a:xfrm>
              <a:prstGeom prst="lin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60" name="Freeform 1021"/>
              <p:cNvSpPr/>
              <p:nvPr/>
            </p:nvSpPr>
            <p:spPr bwMode="auto">
              <a:xfrm>
                <a:off x="5015271" y="1378784"/>
                <a:ext cx="49425" cy="78257"/>
              </a:xfrm>
              <a:custGeom>
                <a:avLst/>
                <a:gdLst>
                  <a:gd name="T0" fmla="*/ 0 w 24"/>
                  <a:gd name="T1" fmla="*/ 4 h 38"/>
                  <a:gd name="T2" fmla="*/ 11 w 24"/>
                  <a:gd name="T3" fmla="*/ 0 h 38"/>
                  <a:gd name="T4" fmla="*/ 12 w 24"/>
                  <a:gd name="T5" fmla="*/ 25 h 38"/>
                  <a:gd name="T6" fmla="*/ 0 w 24"/>
                  <a:gd name="T7" fmla="*/ 38 h 38"/>
                  <a:gd name="T8" fmla="*/ 21 w 24"/>
                  <a:gd name="T9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8">
                    <a:moveTo>
                      <a:pt x="0" y="4"/>
                    </a:moveTo>
                    <a:cubicBezTo>
                      <a:pt x="0" y="4"/>
                      <a:pt x="3" y="0"/>
                      <a:pt x="11" y="0"/>
                    </a:cubicBezTo>
                    <a:cubicBezTo>
                      <a:pt x="19" y="0"/>
                      <a:pt x="24" y="14"/>
                      <a:pt x="12" y="25"/>
                    </a:cubicBezTo>
                    <a:cubicBezTo>
                      <a:pt x="0" y="36"/>
                      <a:pt x="0" y="38"/>
                      <a:pt x="0" y="38"/>
                    </a:cubicBezTo>
                    <a:cubicBezTo>
                      <a:pt x="21" y="38"/>
                      <a:pt x="21" y="38"/>
                      <a:pt x="21" y="38"/>
                    </a:cubicBezTo>
                  </a:path>
                </a:pathLst>
              </a:cu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61" name="Line 1022"/>
              <p:cNvSpPr>
                <a:spLocks noChangeShapeType="1"/>
              </p:cNvSpPr>
              <p:nvPr/>
            </p:nvSpPr>
            <p:spPr bwMode="auto">
              <a:xfrm flipH="1" flipV="1">
                <a:off x="5120300" y="1378784"/>
                <a:ext cx="0" cy="78257"/>
              </a:xfrm>
              <a:prstGeom prst="lin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62" name="Line 1023"/>
              <p:cNvSpPr>
                <a:spLocks noChangeShapeType="1"/>
              </p:cNvSpPr>
              <p:nvPr/>
            </p:nvSpPr>
            <p:spPr bwMode="auto">
              <a:xfrm flipH="1">
                <a:off x="5079112" y="1378784"/>
                <a:ext cx="41188" cy="55603"/>
              </a:xfrm>
              <a:prstGeom prst="lin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  <p:sp>
            <p:nvSpPr>
              <p:cNvPr id="63" name="Line 1024"/>
              <p:cNvSpPr>
                <a:spLocks noChangeShapeType="1"/>
              </p:cNvSpPr>
              <p:nvPr/>
            </p:nvSpPr>
            <p:spPr bwMode="auto">
              <a:xfrm>
                <a:off x="5079112" y="1434388"/>
                <a:ext cx="57663" cy="0"/>
              </a:xfrm>
              <a:prstGeom prst="line">
                <a:avLst/>
              </a:prstGeom>
              <a:noFill/>
              <a:ln w="38100" cap="rnd">
                <a:solidFill>
                  <a:schemeClr val="bg1"/>
                </a:solidFill>
                <a:prstDash val="solid"/>
                <a:round/>
              </a:ln>
            </p:spPr>
            <p:txBody>
              <a:bodyPr vert="horz" wrap="square" lIns="45715" tIns="22857" rIns="45715" bIns="22857" numCol="1" anchor="t" anchorCtr="0" compatLnSpc="1"/>
              <a:lstStyle/>
              <a:p>
                <a:endParaRPr lang="en-US" sz="900" dirty="0">
                  <a:cs typeface="等线" panose="02010600030101010101" charset="-122"/>
                </a:endParaRPr>
              </a:p>
            </p:txBody>
          </p:sp>
        </p:grpSp>
      </p:grpSp>
      <p:sp>
        <p:nvSpPr>
          <p:cNvPr id="78" name="TextBox 1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77154" y="1035412"/>
            <a:ext cx="232467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等线" panose="02010600030101010101" charset="-122"/>
              </a:rPr>
              <a:t>About Us</a:t>
            </a:r>
          </a:p>
        </p:txBody>
      </p:sp>
      <p:sp>
        <p:nvSpPr>
          <p:cNvPr id="80" name="Rectangle: Rounded Corners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40044" y="3137680"/>
            <a:ext cx="1308588" cy="29132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14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cs typeface="等线" panose="02010600030101010101" charset="-122"/>
              </a:rPr>
              <a:t>Find out more</a:t>
            </a:r>
          </a:p>
        </p:txBody>
      </p:sp>
      <p:grpSp>
        <p:nvGrpSpPr>
          <p:cNvPr id="82" name="组合 8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069899" y="1668050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83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84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85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1"/>
            </p:custDataLst>
          </p:nvPr>
        </p:nvSpPr>
        <p:spPr>
          <a:xfrm>
            <a:off x="1015839" y="814935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sp>
        <p:nvSpPr>
          <p:cNvPr id="86" name="TextBox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flipH="1">
            <a:off x="1010162" y="2110154"/>
            <a:ext cx="4370729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200" dirty="0">
                <a:cs typeface="+mn-ea"/>
                <a:sym typeface="+mn-lt"/>
              </a:rPr>
              <a:t>This is a sample text. insert your desired text here. Again. this is a dummy text. enter your own text here. This is a sample text. insert your desired text here. </a:t>
            </a:r>
          </a:p>
        </p:txBody>
      </p:sp>
      <p:sp>
        <p:nvSpPr>
          <p:cNvPr id="6" name="椭圆 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896815" y="3798277"/>
            <a:ext cx="685800" cy="685800"/>
          </a:xfrm>
          <a:prstGeom prst="ellipse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cs typeface="等线" panose="02010600030101010101" charset="-122"/>
              </a:rPr>
              <a:t>01</a:t>
            </a:r>
            <a:endParaRPr lang="zh-CN" altLang="en-US" dirty="0">
              <a:cs typeface="等线" panose="02010600030101010101" charset="-122"/>
            </a:endParaRPr>
          </a:p>
        </p:txBody>
      </p:sp>
      <p:sp>
        <p:nvSpPr>
          <p:cNvPr id="139" name="Rectangle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15237" y="4638307"/>
            <a:ext cx="157289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Section One 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40" name="Rectangle 2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15236" y="5042207"/>
            <a:ext cx="198622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id-ID" sz="105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Lorem ipsum dolor sit amet, lacus nulla ac netus nibh aliquet, porttitor ligula justo libero vivamus</a:t>
            </a:r>
            <a:endParaRPr lang="id-ID" sz="105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141" name="椭圆 14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3053858" y="3774831"/>
            <a:ext cx="685800" cy="685800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cs typeface="等线" panose="02010600030101010101" charset="-122"/>
              </a:rPr>
              <a:t>02</a:t>
            </a:r>
            <a:endParaRPr lang="zh-CN" altLang="en-US" dirty="0">
              <a:cs typeface="等线" panose="02010600030101010101" charset="-122"/>
            </a:endParaRPr>
          </a:p>
        </p:txBody>
      </p:sp>
      <p:sp>
        <p:nvSpPr>
          <p:cNvPr id="142" name="Rectangle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3072280" y="4614861"/>
            <a:ext cx="19920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Section 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Two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43" name="Rectangle 2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3072279" y="5018761"/>
            <a:ext cx="198622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id-ID" sz="105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Lorem ipsum dolor sit amet, lacus nulla ac netus nibh aliquet, porttitor ligula justo libero vivamus</a:t>
            </a:r>
            <a:endParaRPr lang="id-ID" sz="105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144" name="椭圆 14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128846" y="3704493"/>
            <a:ext cx="685800" cy="6858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cs typeface="等线" panose="02010600030101010101" charset="-122"/>
              </a:rPr>
              <a:t>03</a:t>
            </a:r>
            <a:endParaRPr lang="zh-CN" altLang="en-US" dirty="0">
              <a:cs typeface="等线" panose="02010600030101010101" charset="-122"/>
            </a:endParaRPr>
          </a:p>
        </p:txBody>
      </p:sp>
      <p:sp>
        <p:nvSpPr>
          <p:cNvPr id="145" name="Rectangle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147268" y="4544523"/>
            <a:ext cx="19041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Section 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Three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 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46" name="Rectangle 2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147267" y="4948423"/>
            <a:ext cx="198622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id-ID" sz="105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Lorem ipsum dolor sit amet, lacus nulla ac netus nibh aliquet, porttitor ligula justo libero vivamus</a:t>
            </a:r>
            <a:endParaRPr lang="id-ID" sz="105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147" name="椭圆 14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162795" y="3681047"/>
            <a:ext cx="685800" cy="685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>
                <a:cs typeface="等线" panose="02010600030101010101" charset="-122"/>
              </a:rPr>
              <a:t>04</a:t>
            </a:r>
            <a:endParaRPr lang="zh-CN" altLang="en-US" dirty="0">
              <a:cs typeface="等线" panose="02010600030101010101" charset="-122"/>
            </a:endParaRPr>
          </a:p>
        </p:txBody>
      </p:sp>
      <p:sp>
        <p:nvSpPr>
          <p:cNvPr id="148" name="Rectangle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181217" y="4521077"/>
            <a:ext cx="19920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Section </a:t>
            </a:r>
            <a:r>
              <a:rPr lang="en-US" altLang="zh-CN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Four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149" name="Rectangle 2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7181216" y="4924977"/>
            <a:ext cx="198622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id-ID" sz="1050" i="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ea typeface="微软雅黑" panose="020B0503020204020204" pitchFamily="34" charset="-122"/>
                <a:cs typeface="等线" panose="02010600030101010101" charset="-122"/>
              </a:rPr>
              <a:t>Lorem ipsum dolor sit amet, lacus nulla ac netus nibh aliquet, porttitor ligula justo libero vivamus</a:t>
            </a:r>
            <a:endParaRPr lang="id-ID" sz="105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slow">
        <p:random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2517419" y="1938172"/>
            <a:ext cx="6603460" cy="4074971"/>
            <a:chOff x="3593248" y="1738857"/>
            <a:chExt cx="9905190" cy="6112456"/>
          </a:xfrm>
        </p:grpSpPr>
        <p:sp>
          <p:nvSpPr>
            <p:cNvPr id="4" name="Rectangle: Rounded Corners 3"/>
            <p:cNvSpPr/>
            <p:nvPr/>
          </p:nvSpPr>
          <p:spPr>
            <a:xfrm rot="19800000">
              <a:off x="3593248" y="5367028"/>
              <a:ext cx="9499232" cy="2328797"/>
            </a:xfrm>
            <a:prstGeom prst="roundRect">
              <a:avLst>
                <a:gd name="adj" fmla="val 50000"/>
              </a:avLst>
            </a:prstGeom>
            <a:gradFill>
              <a:gsLst>
                <a:gs pos="0">
                  <a:schemeClr val="tx1"/>
                </a:gs>
                <a:gs pos="68000">
                  <a:schemeClr val="tx1">
                    <a:alpha val="30000"/>
                  </a:schemeClr>
                </a:gs>
              </a:gsLst>
              <a:lin ang="8400000" scaled="0"/>
            </a:gradFill>
            <a:ln w="25400" cap="rnd">
              <a:noFill/>
              <a:round/>
            </a:ln>
            <a:effectLst>
              <a:softEdge rad="95250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cs typeface="等线" panose="02010600030101010101" charset="-122"/>
              </a:endParaRPr>
            </a:p>
          </p:txBody>
        </p:sp>
        <p:sp>
          <p:nvSpPr>
            <p:cNvPr id="5" name="Freeform: Shape 4"/>
            <p:cNvSpPr/>
            <p:nvPr/>
          </p:nvSpPr>
          <p:spPr>
            <a:xfrm>
              <a:off x="11466300" y="3357227"/>
              <a:ext cx="2032138" cy="1189256"/>
            </a:xfrm>
            <a:custGeom>
              <a:avLst/>
              <a:gdLst>
                <a:gd name="connsiteX0" fmla="*/ 0 w 3995803"/>
                <a:gd name="connsiteY0" fmla="*/ 1002082 h 1002082"/>
                <a:gd name="connsiteX1" fmla="*/ 3995803 w 3995803"/>
                <a:gd name="connsiteY1" fmla="*/ 0 h 1002082"/>
                <a:gd name="connsiteX0-1" fmla="*/ 0 w 3995803"/>
                <a:gd name="connsiteY0-2" fmla="*/ 1002082 h 1002082"/>
                <a:gd name="connsiteX1-3" fmla="*/ 3995803 w 3995803"/>
                <a:gd name="connsiteY1-4" fmla="*/ 0 h 1002082"/>
                <a:gd name="connsiteX0-5" fmla="*/ 0 w 3995803"/>
                <a:gd name="connsiteY0-6" fmla="*/ 1002082 h 1002082"/>
                <a:gd name="connsiteX1-7" fmla="*/ 3995803 w 3995803"/>
                <a:gd name="connsiteY1-8" fmla="*/ 0 h 100208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</a:cxnLst>
              <a:rect l="l" t="t" r="r" b="b"/>
              <a:pathLst>
                <a:path w="3995803" h="1002082">
                  <a:moveTo>
                    <a:pt x="0" y="1002082"/>
                  </a:moveTo>
                  <a:cubicBezTo>
                    <a:pt x="1292745" y="994627"/>
                    <a:pt x="2716121" y="7456"/>
                    <a:pt x="3995803" y="0"/>
                  </a:cubicBezTo>
                </a:path>
              </a:pathLst>
            </a:custGeom>
            <a:noFill/>
            <a:ln w="25400" cap="rnd">
              <a:solidFill>
                <a:schemeClr val="bg1">
                  <a:lumMod val="95000"/>
                </a:schemeClr>
              </a:solidFill>
              <a:round/>
            </a:ln>
            <a:scene3d>
              <a:camera prst="isometricRightUp"/>
              <a:lightRig rig="soft" dir="t"/>
            </a:scene3d>
            <a:sp3d extrusionH="12700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cs typeface="等线" panose="02010600030101010101" charset="-122"/>
              </a:endParaRPr>
            </a:p>
          </p:txBody>
        </p:sp>
        <p:sp>
          <p:nvSpPr>
            <p:cNvPr id="6" name="Freeform: Shape 5"/>
            <p:cNvSpPr/>
            <p:nvPr/>
          </p:nvSpPr>
          <p:spPr>
            <a:xfrm flipV="1">
              <a:off x="10024877" y="4180115"/>
              <a:ext cx="2032138" cy="1189256"/>
            </a:xfrm>
            <a:custGeom>
              <a:avLst/>
              <a:gdLst>
                <a:gd name="connsiteX0" fmla="*/ 0 w 3995803"/>
                <a:gd name="connsiteY0" fmla="*/ 1002082 h 1002082"/>
                <a:gd name="connsiteX1" fmla="*/ 3995803 w 3995803"/>
                <a:gd name="connsiteY1" fmla="*/ 0 h 1002082"/>
                <a:gd name="connsiteX0-1" fmla="*/ 0 w 3995803"/>
                <a:gd name="connsiteY0-2" fmla="*/ 1002082 h 1002082"/>
                <a:gd name="connsiteX1-3" fmla="*/ 3995803 w 3995803"/>
                <a:gd name="connsiteY1-4" fmla="*/ 0 h 1002082"/>
                <a:gd name="connsiteX0-5" fmla="*/ 0 w 3995803"/>
                <a:gd name="connsiteY0-6" fmla="*/ 1002082 h 1002082"/>
                <a:gd name="connsiteX1-7" fmla="*/ 3995803 w 3995803"/>
                <a:gd name="connsiteY1-8" fmla="*/ 0 h 100208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</a:cxnLst>
              <a:rect l="l" t="t" r="r" b="b"/>
              <a:pathLst>
                <a:path w="3995803" h="1002082">
                  <a:moveTo>
                    <a:pt x="0" y="1002082"/>
                  </a:moveTo>
                  <a:cubicBezTo>
                    <a:pt x="1292745" y="994627"/>
                    <a:pt x="2716121" y="7456"/>
                    <a:pt x="3995803" y="0"/>
                  </a:cubicBezTo>
                </a:path>
              </a:pathLst>
            </a:custGeom>
            <a:noFill/>
            <a:ln w="25400" cap="rnd">
              <a:solidFill>
                <a:schemeClr val="bg1">
                  <a:lumMod val="95000"/>
                </a:schemeClr>
              </a:solidFill>
              <a:round/>
            </a:ln>
            <a:scene3d>
              <a:camera prst="isometricRightUp"/>
              <a:lightRig rig="soft" dir="t"/>
            </a:scene3d>
            <a:sp3d extrusionH="12700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cs typeface="等线" panose="02010600030101010101" charset="-122"/>
              </a:endParaRPr>
            </a:p>
          </p:txBody>
        </p:sp>
        <p:sp>
          <p:nvSpPr>
            <p:cNvPr id="7" name="Freeform: Shape 6"/>
            <p:cNvSpPr/>
            <p:nvPr/>
          </p:nvSpPr>
          <p:spPr>
            <a:xfrm>
              <a:off x="8579255" y="5007429"/>
              <a:ext cx="2032138" cy="1189256"/>
            </a:xfrm>
            <a:custGeom>
              <a:avLst/>
              <a:gdLst>
                <a:gd name="connsiteX0" fmla="*/ 0 w 3995803"/>
                <a:gd name="connsiteY0" fmla="*/ 1002082 h 1002082"/>
                <a:gd name="connsiteX1" fmla="*/ 3995803 w 3995803"/>
                <a:gd name="connsiteY1" fmla="*/ 0 h 1002082"/>
                <a:gd name="connsiteX0-1" fmla="*/ 0 w 3995803"/>
                <a:gd name="connsiteY0-2" fmla="*/ 1002082 h 1002082"/>
                <a:gd name="connsiteX1-3" fmla="*/ 3995803 w 3995803"/>
                <a:gd name="connsiteY1-4" fmla="*/ 0 h 1002082"/>
                <a:gd name="connsiteX0-5" fmla="*/ 0 w 3995803"/>
                <a:gd name="connsiteY0-6" fmla="*/ 1002082 h 1002082"/>
                <a:gd name="connsiteX1-7" fmla="*/ 3995803 w 3995803"/>
                <a:gd name="connsiteY1-8" fmla="*/ 0 h 100208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</a:cxnLst>
              <a:rect l="l" t="t" r="r" b="b"/>
              <a:pathLst>
                <a:path w="3995803" h="1002082">
                  <a:moveTo>
                    <a:pt x="0" y="1002082"/>
                  </a:moveTo>
                  <a:cubicBezTo>
                    <a:pt x="1292745" y="994627"/>
                    <a:pt x="2716121" y="7456"/>
                    <a:pt x="3995803" y="0"/>
                  </a:cubicBezTo>
                </a:path>
              </a:pathLst>
            </a:custGeom>
            <a:noFill/>
            <a:ln w="25400" cap="rnd">
              <a:solidFill>
                <a:schemeClr val="bg1">
                  <a:lumMod val="95000"/>
                </a:schemeClr>
              </a:solidFill>
              <a:round/>
            </a:ln>
            <a:scene3d>
              <a:camera prst="isometricRightUp"/>
              <a:lightRig rig="soft" dir="t"/>
            </a:scene3d>
            <a:sp3d extrusionH="12700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cs typeface="等线" panose="02010600030101010101" charset="-122"/>
              </a:endParaRPr>
            </a:p>
          </p:txBody>
        </p:sp>
        <p:sp>
          <p:nvSpPr>
            <p:cNvPr id="8" name="Freeform: Shape 7"/>
            <p:cNvSpPr/>
            <p:nvPr/>
          </p:nvSpPr>
          <p:spPr>
            <a:xfrm flipV="1">
              <a:off x="7133633" y="5834743"/>
              <a:ext cx="2032138" cy="1189256"/>
            </a:xfrm>
            <a:custGeom>
              <a:avLst/>
              <a:gdLst>
                <a:gd name="connsiteX0" fmla="*/ 0 w 3995803"/>
                <a:gd name="connsiteY0" fmla="*/ 1002082 h 1002082"/>
                <a:gd name="connsiteX1" fmla="*/ 3995803 w 3995803"/>
                <a:gd name="connsiteY1" fmla="*/ 0 h 1002082"/>
                <a:gd name="connsiteX0-1" fmla="*/ 0 w 3995803"/>
                <a:gd name="connsiteY0-2" fmla="*/ 1002082 h 1002082"/>
                <a:gd name="connsiteX1-3" fmla="*/ 3995803 w 3995803"/>
                <a:gd name="connsiteY1-4" fmla="*/ 0 h 1002082"/>
                <a:gd name="connsiteX0-5" fmla="*/ 0 w 3995803"/>
                <a:gd name="connsiteY0-6" fmla="*/ 1002082 h 1002082"/>
                <a:gd name="connsiteX1-7" fmla="*/ 3995803 w 3995803"/>
                <a:gd name="connsiteY1-8" fmla="*/ 0 h 100208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</a:cxnLst>
              <a:rect l="l" t="t" r="r" b="b"/>
              <a:pathLst>
                <a:path w="3995803" h="1002082">
                  <a:moveTo>
                    <a:pt x="0" y="1002082"/>
                  </a:moveTo>
                  <a:cubicBezTo>
                    <a:pt x="1292745" y="994627"/>
                    <a:pt x="2716121" y="7456"/>
                    <a:pt x="3995803" y="0"/>
                  </a:cubicBezTo>
                </a:path>
              </a:pathLst>
            </a:custGeom>
            <a:noFill/>
            <a:ln w="25400" cap="rnd">
              <a:solidFill>
                <a:schemeClr val="bg1">
                  <a:lumMod val="95000"/>
                </a:schemeClr>
              </a:solidFill>
              <a:round/>
            </a:ln>
            <a:scene3d>
              <a:camera prst="isometricRightUp"/>
              <a:lightRig rig="soft" dir="t"/>
            </a:scene3d>
            <a:sp3d extrusionH="12700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cs typeface="等线" panose="02010600030101010101" charset="-122"/>
              </a:endParaRPr>
            </a:p>
          </p:txBody>
        </p:sp>
        <p:sp>
          <p:nvSpPr>
            <p:cNvPr id="9" name="Freeform: Shape 8"/>
            <p:cNvSpPr/>
            <p:nvPr/>
          </p:nvSpPr>
          <p:spPr>
            <a:xfrm>
              <a:off x="5688011" y="6662057"/>
              <a:ext cx="2032138" cy="1189256"/>
            </a:xfrm>
            <a:custGeom>
              <a:avLst/>
              <a:gdLst>
                <a:gd name="connsiteX0" fmla="*/ 0 w 3995803"/>
                <a:gd name="connsiteY0" fmla="*/ 1002082 h 1002082"/>
                <a:gd name="connsiteX1" fmla="*/ 3995803 w 3995803"/>
                <a:gd name="connsiteY1" fmla="*/ 0 h 1002082"/>
                <a:gd name="connsiteX0-1" fmla="*/ 0 w 3995803"/>
                <a:gd name="connsiteY0-2" fmla="*/ 1002082 h 1002082"/>
                <a:gd name="connsiteX1-3" fmla="*/ 3995803 w 3995803"/>
                <a:gd name="connsiteY1-4" fmla="*/ 0 h 1002082"/>
                <a:gd name="connsiteX0-5" fmla="*/ 0 w 3995803"/>
                <a:gd name="connsiteY0-6" fmla="*/ 1002082 h 1002082"/>
                <a:gd name="connsiteX1-7" fmla="*/ 3995803 w 3995803"/>
                <a:gd name="connsiteY1-8" fmla="*/ 0 h 100208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</a:cxnLst>
              <a:rect l="l" t="t" r="r" b="b"/>
              <a:pathLst>
                <a:path w="3995803" h="1002082">
                  <a:moveTo>
                    <a:pt x="0" y="1002082"/>
                  </a:moveTo>
                  <a:cubicBezTo>
                    <a:pt x="1292745" y="994627"/>
                    <a:pt x="2716121" y="7456"/>
                    <a:pt x="3995803" y="0"/>
                  </a:cubicBezTo>
                </a:path>
              </a:pathLst>
            </a:custGeom>
            <a:noFill/>
            <a:ln w="25400" cap="rnd">
              <a:solidFill>
                <a:schemeClr val="bg1">
                  <a:lumMod val="95000"/>
                </a:schemeClr>
              </a:solidFill>
              <a:round/>
            </a:ln>
            <a:scene3d>
              <a:camera prst="isometricRightUp"/>
              <a:lightRig rig="soft" dir="t"/>
            </a:scene3d>
            <a:sp3d extrusionH="12700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cs typeface="等线" panose="02010600030101010101" charset="-122"/>
              </a:endParaRPr>
            </a:p>
          </p:txBody>
        </p:sp>
        <p:sp>
          <p:nvSpPr>
            <p:cNvPr id="3" name="Freeform: Shape 2"/>
            <p:cNvSpPr/>
            <p:nvPr/>
          </p:nvSpPr>
          <p:spPr>
            <a:xfrm>
              <a:off x="11742505" y="1738857"/>
              <a:ext cx="1750423" cy="1502227"/>
            </a:xfrm>
            <a:custGeom>
              <a:avLst/>
              <a:gdLst>
                <a:gd name="connsiteX0" fmla="*/ 0 w 2364377"/>
                <a:gd name="connsiteY0" fmla="*/ 587829 h 1619794"/>
                <a:gd name="connsiteX1" fmla="*/ 1750423 w 2364377"/>
                <a:gd name="connsiteY1" fmla="*/ 1619794 h 1619794"/>
                <a:gd name="connsiteX2" fmla="*/ 2364377 w 2364377"/>
                <a:gd name="connsiteY2" fmla="*/ 0 h 1619794"/>
                <a:gd name="connsiteX3" fmla="*/ 0 w 2364377"/>
                <a:gd name="connsiteY3" fmla="*/ 587829 h 1619794"/>
                <a:gd name="connsiteX0-1" fmla="*/ 0 w 1750423"/>
                <a:gd name="connsiteY0-2" fmla="*/ 470263 h 1502228"/>
                <a:gd name="connsiteX1-3" fmla="*/ 1750423 w 1750423"/>
                <a:gd name="connsiteY1-4" fmla="*/ 1502228 h 1502228"/>
                <a:gd name="connsiteX2-5" fmla="*/ 1515291 w 1750423"/>
                <a:gd name="connsiteY2-6" fmla="*/ 0 h 1502228"/>
                <a:gd name="connsiteX3-7" fmla="*/ 0 w 1750423"/>
                <a:gd name="connsiteY3-8" fmla="*/ 470263 h 1502228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</a:cxnLst>
              <a:rect l="l" t="t" r="r" b="b"/>
              <a:pathLst>
                <a:path w="1750422" h="1502228">
                  <a:moveTo>
                    <a:pt x="0" y="470263"/>
                  </a:moveTo>
                  <a:lnTo>
                    <a:pt x="1750423" y="1502228"/>
                  </a:lnTo>
                  <a:lnTo>
                    <a:pt x="1515291" y="0"/>
                  </a:lnTo>
                  <a:lnTo>
                    <a:pt x="0" y="470263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25400" cap="rnd">
              <a:noFill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sz="1200" dirty="0">
                <a:cs typeface="等线" panose="02010600030101010101" charset="-122"/>
              </a:endParaRPr>
            </a:p>
          </p:txBody>
        </p:sp>
      </p:grpSp>
      <p:sp>
        <p:nvSpPr>
          <p:cNvPr id="11" name="AutoShape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spect="1"/>
          </p:cNvSpPr>
          <p:nvPr/>
        </p:nvSpPr>
        <p:spPr bwMode="auto">
          <a:xfrm>
            <a:off x="4014640" y="4090179"/>
            <a:ext cx="243840" cy="203253"/>
          </a:xfrm>
          <a:custGeom>
            <a:avLst/>
            <a:gdLst>
              <a:gd name="T0" fmla="*/ 75419876 w 21600"/>
              <a:gd name="T1" fmla="*/ 22815321 h 21579"/>
              <a:gd name="T2" fmla="*/ 74086090 w 21600"/>
              <a:gd name="T3" fmla="*/ 25988205 h 21579"/>
              <a:gd name="T4" fmla="*/ 70751508 w 21600"/>
              <a:gd name="T5" fmla="*/ 27764166 h 21579"/>
              <a:gd name="T6" fmla="*/ 70751508 w 21600"/>
              <a:gd name="T7" fmla="*/ 40356187 h 21579"/>
              <a:gd name="T8" fmla="*/ 68890459 w 21600"/>
              <a:gd name="T9" fmla="*/ 44041735 h 21579"/>
              <a:gd name="T10" fmla="*/ 64452543 w 21600"/>
              <a:gd name="T11" fmla="*/ 45574747 h 21579"/>
              <a:gd name="T12" fmla="*/ 57741601 w 21600"/>
              <a:gd name="T13" fmla="*/ 41068031 h 21579"/>
              <a:gd name="T14" fmla="*/ 49288264 w 21600"/>
              <a:gd name="T15" fmla="*/ 37061803 h 21579"/>
              <a:gd name="T16" fmla="*/ 39979537 w 21600"/>
              <a:gd name="T17" fmla="*/ 33937470 h 21579"/>
              <a:gd name="T18" fmla="*/ 30688181 w 21600"/>
              <a:gd name="T19" fmla="*/ 32234408 h 21579"/>
              <a:gd name="T20" fmla="*/ 27825021 w 21600"/>
              <a:gd name="T21" fmla="*/ 33597370 h 21579"/>
              <a:gd name="T22" fmla="*/ 26309651 w 21600"/>
              <a:gd name="T23" fmla="*/ 35728021 h 21579"/>
              <a:gd name="T24" fmla="*/ 26225861 w 21600"/>
              <a:gd name="T25" fmla="*/ 38138096 h 21579"/>
              <a:gd name="T26" fmla="*/ 27748204 w 21600"/>
              <a:gd name="T27" fmla="*/ 40356187 h 21579"/>
              <a:gd name="T28" fmla="*/ 26805477 w 21600"/>
              <a:gd name="T29" fmla="*/ 42936312 h 21579"/>
              <a:gd name="T30" fmla="*/ 27643496 w 21600"/>
              <a:gd name="T31" fmla="*/ 45203003 h 21579"/>
              <a:gd name="T32" fmla="*/ 29672124 w 21600"/>
              <a:gd name="T33" fmla="*/ 47299644 h 21579"/>
              <a:gd name="T34" fmla="*/ 32371191 w 21600"/>
              <a:gd name="T35" fmla="*/ 49296719 h 21579"/>
              <a:gd name="T36" fmla="*/ 29525462 w 21600"/>
              <a:gd name="T37" fmla="*/ 51536695 h 21579"/>
              <a:gd name="T38" fmla="*/ 25181854 w 21600"/>
              <a:gd name="T39" fmla="*/ 52406463 h 21579"/>
              <a:gd name="T40" fmla="*/ 20660147 w 21600"/>
              <a:gd name="T41" fmla="*/ 52049309 h 21579"/>
              <a:gd name="T42" fmla="*/ 17189421 w 21600"/>
              <a:gd name="T43" fmla="*/ 50560017 h 21579"/>
              <a:gd name="T44" fmla="*/ 15548366 w 21600"/>
              <a:gd name="T45" fmla="*/ 46296300 h 21579"/>
              <a:gd name="T46" fmla="*/ 14078377 w 21600"/>
              <a:gd name="T47" fmla="*/ 41845479 h 21579"/>
              <a:gd name="T48" fmla="*/ 13505733 w 21600"/>
              <a:gd name="T49" fmla="*/ 37124993 h 21579"/>
              <a:gd name="T50" fmla="*/ 14490413 w 21600"/>
              <a:gd name="T51" fmla="*/ 31957448 h 21579"/>
              <a:gd name="T52" fmla="*/ 6298965 w 21600"/>
              <a:gd name="T53" fmla="*/ 31957448 h 21579"/>
              <a:gd name="T54" fmla="*/ 1864535 w 21600"/>
              <a:gd name="T55" fmla="*/ 30424436 h 21579"/>
              <a:gd name="T56" fmla="*/ 0 w 21600"/>
              <a:gd name="T57" fmla="*/ 26702464 h 21579"/>
              <a:gd name="T58" fmla="*/ 0 w 21600"/>
              <a:gd name="T59" fmla="*/ 18886823 h 21579"/>
              <a:gd name="T60" fmla="*/ 1836585 w 21600"/>
              <a:gd name="T61" fmla="*/ 15172146 h 21579"/>
              <a:gd name="T62" fmla="*/ 6298965 w 21600"/>
              <a:gd name="T63" fmla="*/ 13617249 h 21579"/>
              <a:gd name="T64" fmla="*/ 26721687 w 21600"/>
              <a:gd name="T65" fmla="*/ 13617249 h 21579"/>
              <a:gd name="T66" fmla="*/ 36749721 w 21600"/>
              <a:gd name="T67" fmla="*/ 12477866 h 21579"/>
              <a:gd name="T68" fmla="*/ 47175846 w 21600"/>
              <a:gd name="T69" fmla="*/ 9411842 h 21579"/>
              <a:gd name="T70" fmla="*/ 56819793 w 21600"/>
              <a:gd name="T71" fmla="*/ 5033920 h 21579"/>
              <a:gd name="T72" fmla="*/ 64452543 w 21600"/>
              <a:gd name="T73" fmla="*/ 0 h 21579"/>
              <a:gd name="T74" fmla="*/ 68890459 w 21600"/>
              <a:gd name="T75" fmla="*/ 1540307 h 21579"/>
              <a:gd name="T76" fmla="*/ 70751508 w 21600"/>
              <a:gd name="T77" fmla="*/ 5262280 h 21579"/>
              <a:gd name="T78" fmla="*/ 70751508 w 21600"/>
              <a:gd name="T79" fmla="*/ 17817875 h 21579"/>
              <a:gd name="T80" fmla="*/ 74086090 w 21600"/>
              <a:gd name="T81" fmla="*/ 19608377 h 21579"/>
              <a:gd name="T82" fmla="*/ 75419876 w 21600"/>
              <a:gd name="T83" fmla="*/ 22815321 h 21579"/>
              <a:gd name="T84" fmla="*/ 64452543 w 21600"/>
              <a:gd name="T85" fmla="*/ 6936162 h 21579"/>
              <a:gd name="T86" fmla="*/ 57657811 w 21600"/>
              <a:gd name="T87" fmla="*/ 10816059 h 21579"/>
              <a:gd name="T88" fmla="*/ 49860908 w 21600"/>
              <a:gd name="T89" fmla="*/ 14173632 h 21579"/>
              <a:gd name="T90" fmla="*/ 41473930 w 21600"/>
              <a:gd name="T91" fmla="*/ 16819313 h 21579"/>
              <a:gd name="T92" fmla="*/ 33020652 w 21600"/>
              <a:gd name="T93" fmla="*/ 18473824 h 21579"/>
              <a:gd name="T94" fmla="*/ 33020652 w 21600"/>
              <a:gd name="T95" fmla="*/ 27144643 h 21579"/>
              <a:gd name="T96" fmla="*/ 41473930 w 21600"/>
              <a:gd name="T97" fmla="*/ 28818574 h 21579"/>
              <a:gd name="T98" fmla="*/ 49860908 w 21600"/>
              <a:gd name="T99" fmla="*/ 31478844 h 21579"/>
              <a:gd name="T100" fmla="*/ 57699706 w 21600"/>
              <a:gd name="T101" fmla="*/ 34858253 h 21579"/>
              <a:gd name="T102" fmla="*/ 64452543 w 21600"/>
              <a:gd name="T103" fmla="*/ 38679840 h 21579"/>
              <a:gd name="T104" fmla="*/ 64452543 w 21600"/>
              <a:gd name="T105" fmla="*/ 6936162 h 21579"/>
              <a:gd name="T106" fmla="*/ 64452543 w 21600"/>
              <a:gd name="T107" fmla="*/ 6936162 h 2157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21600" h="21579">
                <a:moveTo>
                  <a:pt x="21600" y="9391"/>
                </a:moveTo>
                <a:cubicBezTo>
                  <a:pt x="21600" y="9887"/>
                  <a:pt x="21473" y="10321"/>
                  <a:pt x="21218" y="10697"/>
                </a:cubicBezTo>
                <a:cubicBezTo>
                  <a:pt x="20963" y="11073"/>
                  <a:pt x="20648" y="11313"/>
                  <a:pt x="20263" y="11428"/>
                </a:cubicBezTo>
                <a:lnTo>
                  <a:pt x="20263" y="16611"/>
                </a:lnTo>
                <a:cubicBezTo>
                  <a:pt x="20263" y="17201"/>
                  <a:pt x="20087" y="17708"/>
                  <a:pt x="19730" y="18128"/>
                </a:cubicBezTo>
                <a:cubicBezTo>
                  <a:pt x="19375" y="18551"/>
                  <a:pt x="18951" y="18759"/>
                  <a:pt x="18459" y="18759"/>
                </a:cubicBezTo>
                <a:cubicBezTo>
                  <a:pt x="17928" y="18122"/>
                  <a:pt x="17286" y="17506"/>
                  <a:pt x="16537" y="16904"/>
                </a:cubicBezTo>
                <a:cubicBezTo>
                  <a:pt x="15786" y="16306"/>
                  <a:pt x="14980" y="15757"/>
                  <a:pt x="14116" y="15255"/>
                </a:cubicBezTo>
                <a:cubicBezTo>
                  <a:pt x="13254" y="14756"/>
                  <a:pt x="12363" y="14325"/>
                  <a:pt x="11450" y="13969"/>
                </a:cubicBezTo>
                <a:cubicBezTo>
                  <a:pt x="10537" y="13614"/>
                  <a:pt x="9648" y="13380"/>
                  <a:pt x="8789" y="13268"/>
                </a:cubicBezTo>
                <a:cubicBezTo>
                  <a:pt x="8453" y="13379"/>
                  <a:pt x="8179" y="13564"/>
                  <a:pt x="7969" y="13829"/>
                </a:cubicBezTo>
                <a:cubicBezTo>
                  <a:pt x="7758" y="14093"/>
                  <a:pt x="7614" y="14386"/>
                  <a:pt x="7535" y="14706"/>
                </a:cubicBezTo>
                <a:cubicBezTo>
                  <a:pt x="7457" y="15029"/>
                  <a:pt x="7450" y="15361"/>
                  <a:pt x="7511" y="15698"/>
                </a:cubicBezTo>
                <a:cubicBezTo>
                  <a:pt x="7575" y="16036"/>
                  <a:pt x="7719" y="16341"/>
                  <a:pt x="7947" y="16611"/>
                </a:cubicBezTo>
                <a:cubicBezTo>
                  <a:pt x="7751" y="16992"/>
                  <a:pt x="7660" y="17347"/>
                  <a:pt x="7677" y="17673"/>
                </a:cubicBezTo>
                <a:cubicBezTo>
                  <a:pt x="7692" y="17993"/>
                  <a:pt x="7773" y="18307"/>
                  <a:pt x="7917" y="18606"/>
                </a:cubicBezTo>
                <a:cubicBezTo>
                  <a:pt x="8059" y="18909"/>
                  <a:pt x="8255" y="19193"/>
                  <a:pt x="8498" y="19469"/>
                </a:cubicBezTo>
                <a:cubicBezTo>
                  <a:pt x="8737" y="19745"/>
                  <a:pt x="8997" y="20021"/>
                  <a:pt x="9271" y="20291"/>
                </a:cubicBezTo>
                <a:cubicBezTo>
                  <a:pt x="9114" y="20696"/>
                  <a:pt x="8843" y="21001"/>
                  <a:pt x="8456" y="21213"/>
                </a:cubicBezTo>
                <a:cubicBezTo>
                  <a:pt x="8069" y="21424"/>
                  <a:pt x="7655" y="21541"/>
                  <a:pt x="7212" y="21571"/>
                </a:cubicBezTo>
                <a:cubicBezTo>
                  <a:pt x="6772" y="21600"/>
                  <a:pt x="6341" y="21550"/>
                  <a:pt x="5917" y="21424"/>
                </a:cubicBezTo>
                <a:cubicBezTo>
                  <a:pt x="5496" y="21295"/>
                  <a:pt x="5163" y="21092"/>
                  <a:pt x="4923" y="20811"/>
                </a:cubicBezTo>
                <a:cubicBezTo>
                  <a:pt x="4781" y="20241"/>
                  <a:pt x="4625" y="19657"/>
                  <a:pt x="4453" y="19056"/>
                </a:cubicBezTo>
                <a:cubicBezTo>
                  <a:pt x="4282" y="18454"/>
                  <a:pt x="4140" y="17843"/>
                  <a:pt x="4032" y="17224"/>
                </a:cubicBezTo>
                <a:cubicBezTo>
                  <a:pt x="3922" y="16599"/>
                  <a:pt x="3868" y="15953"/>
                  <a:pt x="3868" y="15281"/>
                </a:cubicBezTo>
                <a:cubicBezTo>
                  <a:pt x="3868" y="14615"/>
                  <a:pt x="3961" y="13905"/>
                  <a:pt x="4150" y="13154"/>
                </a:cubicBezTo>
                <a:lnTo>
                  <a:pt x="1804" y="13154"/>
                </a:lnTo>
                <a:cubicBezTo>
                  <a:pt x="1312" y="13154"/>
                  <a:pt x="889" y="12945"/>
                  <a:pt x="534" y="12523"/>
                </a:cubicBezTo>
                <a:cubicBezTo>
                  <a:pt x="176" y="12100"/>
                  <a:pt x="0" y="11592"/>
                  <a:pt x="0" y="10991"/>
                </a:cubicBezTo>
                <a:lnTo>
                  <a:pt x="0" y="7774"/>
                </a:lnTo>
                <a:cubicBezTo>
                  <a:pt x="0" y="7184"/>
                  <a:pt x="176" y="6677"/>
                  <a:pt x="526" y="6245"/>
                </a:cubicBezTo>
                <a:cubicBezTo>
                  <a:pt x="879" y="5820"/>
                  <a:pt x="1305" y="5605"/>
                  <a:pt x="1804" y="5605"/>
                </a:cubicBezTo>
                <a:lnTo>
                  <a:pt x="7653" y="5605"/>
                </a:lnTo>
                <a:cubicBezTo>
                  <a:pt x="8551" y="5605"/>
                  <a:pt x="9509" y="5450"/>
                  <a:pt x="10525" y="5136"/>
                </a:cubicBezTo>
                <a:cubicBezTo>
                  <a:pt x="11541" y="4822"/>
                  <a:pt x="12537" y="4399"/>
                  <a:pt x="13511" y="3874"/>
                </a:cubicBezTo>
                <a:cubicBezTo>
                  <a:pt x="14488" y="3343"/>
                  <a:pt x="15409" y="2744"/>
                  <a:pt x="16273" y="2072"/>
                </a:cubicBezTo>
                <a:cubicBezTo>
                  <a:pt x="17135" y="1406"/>
                  <a:pt x="17864" y="713"/>
                  <a:pt x="18459" y="0"/>
                </a:cubicBezTo>
                <a:cubicBezTo>
                  <a:pt x="18951" y="0"/>
                  <a:pt x="19375" y="214"/>
                  <a:pt x="19730" y="634"/>
                </a:cubicBezTo>
                <a:cubicBezTo>
                  <a:pt x="20087" y="1057"/>
                  <a:pt x="20263" y="1567"/>
                  <a:pt x="20263" y="2166"/>
                </a:cubicBezTo>
                <a:lnTo>
                  <a:pt x="20263" y="7334"/>
                </a:lnTo>
                <a:cubicBezTo>
                  <a:pt x="20648" y="7446"/>
                  <a:pt x="20963" y="7692"/>
                  <a:pt x="21218" y="8071"/>
                </a:cubicBezTo>
                <a:cubicBezTo>
                  <a:pt x="21473" y="8455"/>
                  <a:pt x="21600" y="8895"/>
                  <a:pt x="21600" y="9391"/>
                </a:cubicBezTo>
                <a:moveTo>
                  <a:pt x="18459" y="2855"/>
                </a:moveTo>
                <a:cubicBezTo>
                  <a:pt x="17864" y="3407"/>
                  <a:pt x="17215" y="3941"/>
                  <a:pt x="16513" y="4452"/>
                </a:cubicBezTo>
                <a:cubicBezTo>
                  <a:pt x="15810" y="4963"/>
                  <a:pt x="15066" y="5423"/>
                  <a:pt x="14280" y="5834"/>
                </a:cubicBezTo>
                <a:cubicBezTo>
                  <a:pt x="13494" y="6245"/>
                  <a:pt x="12694" y="6609"/>
                  <a:pt x="11878" y="6923"/>
                </a:cubicBezTo>
                <a:cubicBezTo>
                  <a:pt x="11061" y="7237"/>
                  <a:pt x="10255" y="7463"/>
                  <a:pt x="9457" y="7604"/>
                </a:cubicBezTo>
                <a:lnTo>
                  <a:pt x="9457" y="11173"/>
                </a:lnTo>
                <a:cubicBezTo>
                  <a:pt x="10255" y="11325"/>
                  <a:pt x="11061" y="11554"/>
                  <a:pt x="11878" y="11862"/>
                </a:cubicBezTo>
                <a:cubicBezTo>
                  <a:pt x="12694" y="12170"/>
                  <a:pt x="13494" y="12537"/>
                  <a:pt x="14280" y="12957"/>
                </a:cubicBezTo>
                <a:cubicBezTo>
                  <a:pt x="15066" y="13379"/>
                  <a:pt x="15813" y="13843"/>
                  <a:pt x="16525" y="14348"/>
                </a:cubicBezTo>
                <a:cubicBezTo>
                  <a:pt x="17235" y="14856"/>
                  <a:pt x="17881" y="15381"/>
                  <a:pt x="18459" y="15921"/>
                </a:cubicBezTo>
                <a:lnTo>
                  <a:pt x="18459" y="2855"/>
                </a:lnTo>
                <a:close/>
                <a:moveTo>
                  <a:pt x="18459" y="2855"/>
                </a:moveTo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lIns="0" tIns="0" rIns="0" bIns="0"/>
          <a:lstStyle/>
          <a:p>
            <a:endParaRPr lang="en-US" sz="1200" dirty="0">
              <a:cs typeface="等线" panose="02010600030101010101" charset="-122"/>
            </a:endParaRPr>
          </a:p>
        </p:txBody>
      </p:sp>
      <p:sp>
        <p:nvSpPr>
          <p:cNvPr id="13" name="AutoShape 12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spect="1"/>
          </p:cNvSpPr>
          <p:nvPr/>
        </p:nvSpPr>
        <p:spPr bwMode="auto">
          <a:xfrm>
            <a:off x="6274963" y="3101776"/>
            <a:ext cx="243840" cy="26380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21599" y="6949"/>
                </a:moveTo>
                <a:cubicBezTo>
                  <a:pt x="21599" y="7542"/>
                  <a:pt x="21407" y="8153"/>
                  <a:pt x="21017" y="8781"/>
                </a:cubicBezTo>
                <a:cubicBezTo>
                  <a:pt x="20628" y="9416"/>
                  <a:pt x="20109" y="10015"/>
                  <a:pt x="19458" y="10585"/>
                </a:cubicBezTo>
                <a:cubicBezTo>
                  <a:pt x="18806" y="11152"/>
                  <a:pt x="18040" y="11651"/>
                  <a:pt x="17159" y="12083"/>
                </a:cubicBezTo>
                <a:cubicBezTo>
                  <a:pt x="16275" y="12512"/>
                  <a:pt x="15327" y="12820"/>
                  <a:pt x="14315" y="12996"/>
                </a:cubicBezTo>
                <a:cubicBezTo>
                  <a:pt x="13880" y="13090"/>
                  <a:pt x="13492" y="13284"/>
                  <a:pt x="13151" y="13578"/>
                </a:cubicBezTo>
                <a:cubicBezTo>
                  <a:pt x="12809" y="13872"/>
                  <a:pt x="12641" y="14204"/>
                  <a:pt x="12641" y="14571"/>
                </a:cubicBezTo>
                <a:cubicBezTo>
                  <a:pt x="12641" y="14900"/>
                  <a:pt x="12713" y="15140"/>
                  <a:pt x="12865" y="15293"/>
                </a:cubicBezTo>
                <a:cubicBezTo>
                  <a:pt x="13015" y="15449"/>
                  <a:pt x="13177" y="15596"/>
                  <a:pt x="13364" y="15728"/>
                </a:cubicBezTo>
                <a:cubicBezTo>
                  <a:pt x="13546" y="15866"/>
                  <a:pt x="13717" y="16010"/>
                  <a:pt x="13874" y="16169"/>
                </a:cubicBezTo>
                <a:cubicBezTo>
                  <a:pt x="14032" y="16330"/>
                  <a:pt x="14125" y="16574"/>
                  <a:pt x="14160" y="16903"/>
                </a:cubicBezTo>
                <a:cubicBezTo>
                  <a:pt x="14195" y="17117"/>
                  <a:pt x="14187" y="17340"/>
                  <a:pt x="14133" y="17564"/>
                </a:cubicBezTo>
                <a:cubicBezTo>
                  <a:pt x="14099" y="17696"/>
                  <a:pt x="14200" y="17805"/>
                  <a:pt x="14432" y="17893"/>
                </a:cubicBezTo>
                <a:cubicBezTo>
                  <a:pt x="14667" y="17981"/>
                  <a:pt x="14956" y="18069"/>
                  <a:pt x="15295" y="18154"/>
                </a:cubicBezTo>
                <a:cubicBezTo>
                  <a:pt x="15637" y="18236"/>
                  <a:pt x="15987" y="18342"/>
                  <a:pt x="16344" y="18468"/>
                </a:cubicBezTo>
                <a:cubicBezTo>
                  <a:pt x="16705" y="18595"/>
                  <a:pt x="16975" y="18756"/>
                  <a:pt x="17164" y="18953"/>
                </a:cubicBezTo>
                <a:cubicBezTo>
                  <a:pt x="17266" y="19050"/>
                  <a:pt x="17351" y="19232"/>
                  <a:pt x="17415" y="19511"/>
                </a:cubicBezTo>
                <a:cubicBezTo>
                  <a:pt x="17477" y="19790"/>
                  <a:pt x="17519" y="20090"/>
                  <a:pt x="17535" y="20416"/>
                </a:cubicBezTo>
                <a:cubicBezTo>
                  <a:pt x="17554" y="20727"/>
                  <a:pt x="17527" y="21000"/>
                  <a:pt x="17463" y="21241"/>
                </a:cubicBezTo>
                <a:cubicBezTo>
                  <a:pt x="17394" y="21479"/>
                  <a:pt x="17268" y="21599"/>
                  <a:pt x="17089" y="21599"/>
                </a:cubicBezTo>
                <a:lnTo>
                  <a:pt x="4496" y="21599"/>
                </a:lnTo>
                <a:cubicBezTo>
                  <a:pt x="4328" y="21599"/>
                  <a:pt x="4205" y="21479"/>
                  <a:pt x="4130" y="21241"/>
                </a:cubicBezTo>
                <a:cubicBezTo>
                  <a:pt x="4061" y="21000"/>
                  <a:pt x="4032" y="20727"/>
                  <a:pt x="4048" y="20416"/>
                </a:cubicBezTo>
                <a:cubicBezTo>
                  <a:pt x="4066" y="20090"/>
                  <a:pt x="4109" y="19790"/>
                  <a:pt x="4170" y="19511"/>
                </a:cubicBezTo>
                <a:cubicBezTo>
                  <a:pt x="4235" y="19232"/>
                  <a:pt x="4317" y="19050"/>
                  <a:pt x="4421" y="18953"/>
                </a:cubicBezTo>
                <a:cubicBezTo>
                  <a:pt x="4616" y="18768"/>
                  <a:pt x="4889" y="18606"/>
                  <a:pt x="5239" y="18474"/>
                </a:cubicBezTo>
                <a:cubicBezTo>
                  <a:pt x="5588" y="18345"/>
                  <a:pt x="5933" y="18236"/>
                  <a:pt x="6269" y="18154"/>
                </a:cubicBezTo>
                <a:cubicBezTo>
                  <a:pt x="6606" y="18069"/>
                  <a:pt x="6897" y="17984"/>
                  <a:pt x="7145" y="17901"/>
                </a:cubicBezTo>
                <a:cubicBezTo>
                  <a:pt x="7394" y="17816"/>
                  <a:pt x="7498" y="17705"/>
                  <a:pt x="7463" y="17564"/>
                </a:cubicBezTo>
                <a:cubicBezTo>
                  <a:pt x="7428" y="17432"/>
                  <a:pt x="7412" y="17311"/>
                  <a:pt x="7412" y="17205"/>
                </a:cubicBezTo>
                <a:lnTo>
                  <a:pt x="7412" y="16903"/>
                </a:lnTo>
                <a:cubicBezTo>
                  <a:pt x="7428" y="16574"/>
                  <a:pt x="7519" y="16330"/>
                  <a:pt x="7687" y="16169"/>
                </a:cubicBezTo>
                <a:cubicBezTo>
                  <a:pt x="7853" y="16010"/>
                  <a:pt x="8034" y="15866"/>
                  <a:pt x="8224" y="15728"/>
                </a:cubicBezTo>
                <a:cubicBezTo>
                  <a:pt x="8416" y="15593"/>
                  <a:pt x="8584" y="15446"/>
                  <a:pt x="8729" y="15293"/>
                </a:cubicBezTo>
                <a:cubicBezTo>
                  <a:pt x="8873" y="15140"/>
                  <a:pt x="8945" y="14900"/>
                  <a:pt x="8945" y="14571"/>
                </a:cubicBezTo>
                <a:cubicBezTo>
                  <a:pt x="8945" y="14204"/>
                  <a:pt x="8777" y="13875"/>
                  <a:pt x="8440" y="13578"/>
                </a:cubicBezTo>
                <a:cubicBezTo>
                  <a:pt x="8104" y="13281"/>
                  <a:pt x="7706" y="13090"/>
                  <a:pt x="7247" y="12996"/>
                </a:cubicBezTo>
                <a:cubicBezTo>
                  <a:pt x="6251" y="12811"/>
                  <a:pt x="5311" y="12497"/>
                  <a:pt x="4435" y="12062"/>
                </a:cubicBezTo>
                <a:cubicBezTo>
                  <a:pt x="3554" y="11628"/>
                  <a:pt x="2790" y="11128"/>
                  <a:pt x="2133" y="10570"/>
                </a:cubicBezTo>
                <a:cubicBezTo>
                  <a:pt x="1479" y="10012"/>
                  <a:pt x="958" y="9416"/>
                  <a:pt x="574" y="8781"/>
                </a:cubicBezTo>
                <a:cubicBezTo>
                  <a:pt x="189" y="8153"/>
                  <a:pt x="0" y="7542"/>
                  <a:pt x="0" y="6949"/>
                </a:cubicBezTo>
                <a:lnTo>
                  <a:pt x="0" y="4320"/>
                </a:lnTo>
                <a:cubicBezTo>
                  <a:pt x="0" y="4009"/>
                  <a:pt x="93" y="3756"/>
                  <a:pt x="285" y="3553"/>
                </a:cubicBezTo>
                <a:cubicBezTo>
                  <a:pt x="475" y="3354"/>
                  <a:pt x="712" y="3254"/>
                  <a:pt x="998" y="3254"/>
                </a:cubicBezTo>
                <a:lnTo>
                  <a:pt x="5124" y="3254"/>
                </a:lnTo>
                <a:cubicBezTo>
                  <a:pt x="5108" y="3139"/>
                  <a:pt x="5097" y="3025"/>
                  <a:pt x="5097" y="2901"/>
                </a:cubicBezTo>
                <a:lnTo>
                  <a:pt x="5097" y="2564"/>
                </a:lnTo>
                <a:lnTo>
                  <a:pt x="5097" y="2505"/>
                </a:lnTo>
                <a:cubicBezTo>
                  <a:pt x="5097" y="2005"/>
                  <a:pt x="5118" y="1594"/>
                  <a:pt x="5156" y="1265"/>
                </a:cubicBezTo>
                <a:cubicBezTo>
                  <a:pt x="5193" y="939"/>
                  <a:pt x="5260" y="684"/>
                  <a:pt x="5353" y="499"/>
                </a:cubicBezTo>
                <a:cubicBezTo>
                  <a:pt x="5444" y="320"/>
                  <a:pt x="5580" y="187"/>
                  <a:pt x="5754" y="111"/>
                </a:cubicBezTo>
                <a:cubicBezTo>
                  <a:pt x="5928" y="38"/>
                  <a:pt x="6165" y="0"/>
                  <a:pt x="6464" y="0"/>
                </a:cubicBezTo>
                <a:lnTo>
                  <a:pt x="15132" y="0"/>
                </a:lnTo>
                <a:cubicBezTo>
                  <a:pt x="15410" y="0"/>
                  <a:pt x="15645" y="38"/>
                  <a:pt x="15829" y="111"/>
                </a:cubicBezTo>
                <a:cubicBezTo>
                  <a:pt x="16011" y="187"/>
                  <a:pt x="16149" y="320"/>
                  <a:pt x="16243" y="499"/>
                </a:cubicBezTo>
                <a:cubicBezTo>
                  <a:pt x="16336" y="684"/>
                  <a:pt x="16403" y="939"/>
                  <a:pt x="16435" y="1265"/>
                </a:cubicBezTo>
                <a:cubicBezTo>
                  <a:pt x="16470" y="1594"/>
                  <a:pt x="16486" y="2006"/>
                  <a:pt x="16486" y="2505"/>
                </a:cubicBezTo>
                <a:lnTo>
                  <a:pt x="16486" y="2863"/>
                </a:lnTo>
                <a:cubicBezTo>
                  <a:pt x="16486" y="2989"/>
                  <a:pt x="16478" y="3119"/>
                  <a:pt x="16459" y="3251"/>
                </a:cubicBezTo>
                <a:lnTo>
                  <a:pt x="20603" y="3251"/>
                </a:lnTo>
                <a:cubicBezTo>
                  <a:pt x="20884" y="3251"/>
                  <a:pt x="21119" y="3351"/>
                  <a:pt x="21314" y="3550"/>
                </a:cubicBezTo>
                <a:cubicBezTo>
                  <a:pt x="21503" y="3753"/>
                  <a:pt x="21599" y="4006"/>
                  <a:pt x="21599" y="4317"/>
                </a:cubicBezTo>
                <a:lnTo>
                  <a:pt x="21599" y="6949"/>
                </a:lnTo>
                <a:close/>
                <a:moveTo>
                  <a:pt x="6283" y="10550"/>
                </a:moveTo>
                <a:cubicBezTo>
                  <a:pt x="6072" y="9798"/>
                  <a:pt x="5882" y="8978"/>
                  <a:pt x="5714" y="8082"/>
                </a:cubicBezTo>
                <a:cubicBezTo>
                  <a:pt x="5548" y="7189"/>
                  <a:pt x="5407" y="6299"/>
                  <a:pt x="5287" y="5415"/>
                </a:cubicBezTo>
                <a:lnTo>
                  <a:pt x="1962" y="5415"/>
                </a:lnTo>
                <a:lnTo>
                  <a:pt x="1962" y="6949"/>
                </a:lnTo>
                <a:cubicBezTo>
                  <a:pt x="1962" y="7137"/>
                  <a:pt x="2064" y="7389"/>
                  <a:pt x="2264" y="7709"/>
                </a:cubicBezTo>
                <a:cubicBezTo>
                  <a:pt x="2462" y="8029"/>
                  <a:pt x="2753" y="8358"/>
                  <a:pt x="3126" y="8699"/>
                </a:cubicBezTo>
                <a:cubicBezTo>
                  <a:pt x="3500" y="9040"/>
                  <a:pt x="3954" y="9381"/>
                  <a:pt x="4488" y="9707"/>
                </a:cubicBezTo>
                <a:cubicBezTo>
                  <a:pt x="5022" y="10033"/>
                  <a:pt x="5618" y="10315"/>
                  <a:pt x="6283" y="10550"/>
                </a:cubicBezTo>
                <a:moveTo>
                  <a:pt x="19629" y="5415"/>
                </a:moveTo>
                <a:lnTo>
                  <a:pt x="16280" y="5415"/>
                </a:lnTo>
                <a:cubicBezTo>
                  <a:pt x="16179" y="6299"/>
                  <a:pt x="16043" y="7189"/>
                  <a:pt x="15877" y="8082"/>
                </a:cubicBezTo>
                <a:cubicBezTo>
                  <a:pt x="15712" y="8978"/>
                  <a:pt x="15522" y="9798"/>
                  <a:pt x="15308" y="10550"/>
                </a:cubicBezTo>
                <a:cubicBezTo>
                  <a:pt x="15973" y="10315"/>
                  <a:pt x="16574" y="10033"/>
                  <a:pt x="17105" y="9707"/>
                </a:cubicBezTo>
                <a:cubicBezTo>
                  <a:pt x="17637" y="9381"/>
                  <a:pt x="18091" y="9040"/>
                  <a:pt x="18467" y="8699"/>
                </a:cubicBezTo>
                <a:cubicBezTo>
                  <a:pt x="18844" y="8358"/>
                  <a:pt x="19130" y="8029"/>
                  <a:pt x="19330" y="7709"/>
                </a:cubicBezTo>
                <a:cubicBezTo>
                  <a:pt x="19530" y="7389"/>
                  <a:pt x="19629" y="7137"/>
                  <a:pt x="19629" y="6949"/>
                </a:cubicBezTo>
                <a:lnTo>
                  <a:pt x="19629" y="5415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txBody>
          <a:bodyPr lIns="67719" tIns="67719" rIns="67719" bIns="67719" anchor="ctr"/>
          <a:lstStyle/>
          <a:p>
            <a:pPr defTabSz="609600">
              <a:defRPr/>
            </a:pPr>
            <a:endParaRPr lang="es-ES" sz="3865" dirty="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14" name="Freeform: Shape 1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spect="1" noChangeArrowheads="1"/>
          </p:cNvSpPr>
          <p:nvPr/>
        </p:nvSpPr>
        <p:spPr bwMode="auto">
          <a:xfrm>
            <a:off x="8038010" y="3971300"/>
            <a:ext cx="243840" cy="291841"/>
          </a:xfrm>
          <a:custGeom>
            <a:avLst/>
            <a:gdLst>
              <a:gd name="connsiteX0" fmla="*/ 385576 w 840347"/>
              <a:gd name="connsiteY0" fmla="*/ 791037 h 1005775"/>
              <a:gd name="connsiteX1" fmla="*/ 389630 w 840347"/>
              <a:gd name="connsiteY1" fmla="*/ 811538 h 1005775"/>
              <a:gd name="connsiteX2" fmla="*/ 254352 w 840347"/>
              <a:gd name="connsiteY2" fmla="*/ 985741 h 1005775"/>
              <a:gd name="connsiteX3" fmla="*/ 225629 w 840347"/>
              <a:gd name="connsiteY3" fmla="*/ 966282 h 1005775"/>
              <a:gd name="connsiteX4" fmla="*/ 359980 w 840347"/>
              <a:gd name="connsiteY4" fmla="*/ 792079 h 1005775"/>
              <a:gd name="connsiteX5" fmla="*/ 385576 w 840347"/>
              <a:gd name="connsiteY5" fmla="*/ 791037 h 1005775"/>
              <a:gd name="connsiteX6" fmla="*/ 295901 w 840347"/>
              <a:gd name="connsiteY6" fmla="*/ 721794 h 1005775"/>
              <a:gd name="connsiteX7" fmla="*/ 299490 w 840347"/>
              <a:gd name="connsiteY7" fmla="*/ 741764 h 1005775"/>
              <a:gd name="connsiteX8" fmla="*/ 96643 w 840347"/>
              <a:gd name="connsiteY8" fmla="*/ 1002170 h 1005775"/>
              <a:gd name="connsiteX9" fmla="*/ 77192 w 840347"/>
              <a:gd name="connsiteY9" fmla="*/ 982778 h 1005775"/>
              <a:gd name="connsiteX10" fmla="*/ 270777 w 840347"/>
              <a:gd name="connsiteY10" fmla="*/ 723295 h 1005775"/>
              <a:gd name="connsiteX11" fmla="*/ 295901 w 840347"/>
              <a:gd name="connsiteY11" fmla="*/ 721794 h 1005775"/>
              <a:gd name="connsiteX12" fmla="*/ 197920 w 840347"/>
              <a:gd name="connsiteY12" fmla="*/ 650863 h 1005775"/>
              <a:gd name="connsiteX13" fmla="*/ 212513 w 840347"/>
              <a:gd name="connsiteY13" fmla="*/ 678095 h 1005775"/>
              <a:gd name="connsiteX14" fmla="*/ 77237 w 840347"/>
              <a:gd name="connsiteY14" fmla="*/ 850539 h 1005775"/>
              <a:gd name="connsiteX15" fmla="*/ 48514 w 840347"/>
              <a:gd name="connsiteY15" fmla="*/ 831173 h 1005775"/>
              <a:gd name="connsiteX16" fmla="*/ 183790 w 840347"/>
              <a:gd name="connsiteY16" fmla="*/ 658730 h 1005775"/>
              <a:gd name="connsiteX17" fmla="*/ 197920 w 840347"/>
              <a:gd name="connsiteY17" fmla="*/ 650863 h 1005775"/>
              <a:gd name="connsiteX18" fmla="*/ 537180 w 840347"/>
              <a:gd name="connsiteY18" fmla="*/ 286367 h 1005775"/>
              <a:gd name="connsiteX19" fmla="*/ 487690 w 840347"/>
              <a:gd name="connsiteY19" fmla="*/ 309109 h 1005775"/>
              <a:gd name="connsiteX20" fmla="*/ 477466 w 840347"/>
              <a:gd name="connsiteY20" fmla="*/ 328602 h 1005775"/>
              <a:gd name="connsiteX21" fmla="*/ 516501 w 840347"/>
              <a:gd name="connsiteY21" fmla="*/ 434424 h 1005775"/>
              <a:gd name="connsiteX22" fmla="*/ 613159 w 840347"/>
              <a:gd name="connsiteY22" fmla="*/ 425141 h 1005775"/>
              <a:gd name="connsiteX23" fmla="*/ 623383 w 840347"/>
              <a:gd name="connsiteY23" fmla="*/ 405648 h 1005775"/>
              <a:gd name="connsiteX24" fmla="*/ 593642 w 840347"/>
              <a:gd name="connsiteY24" fmla="*/ 299827 h 1005775"/>
              <a:gd name="connsiteX25" fmla="*/ 537180 w 840347"/>
              <a:gd name="connsiteY25" fmla="*/ 286367 h 1005775"/>
              <a:gd name="connsiteX26" fmla="*/ 816699 w 840347"/>
              <a:gd name="connsiteY26" fmla="*/ 0 h 1005775"/>
              <a:gd name="connsiteX27" fmla="*/ 825993 w 840347"/>
              <a:gd name="connsiteY27" fmla="*/ 0 h 1005775"/>
              <a:gd name="connsiteX28" fmla="*/ 836217 w 840347"/>
              <a:gd name="connsiteY28" fmla="*/ 9282 h 1005775"/>
              <a:gd name="connsiteX29" fmla="*/ 836217 w 840347"/>
              <a:gd name="connsiteY29" fmla="*/ 18565 h 1005775"/>
              <a:gd name="connsiteX30" fmla="*/ 836217 w 840347"/>
              <a:gd name="connsiteY30" fmla="*/ 38058 h 1005775"/>
              <a:gd name="connsiteX31" fmla="*/ 836217 w 840347"/>
              <a:gd name="connsiteY31" fmla="*/ 86328 h 1005775"/>
              <a:gd name="connsiteX32" fmla="*/ 825993 w 840347"/>
              <a:gd name="connsiteY32" fmla="*/ 193077 h 1005775"/>
              <a:gd name="connsiteX33" fmla="*/ 825993 w 840347"/>
              <a:gd name="connsiteY33" fmla="*/ 212570 h 1005775"/>
              <a:gd name="connsiteX34" fmla="*/ 816699 w 840347"/>
              <a:gd name="connsiteY34" fmla="*/ 250629 h 1005775"/>
              <a:gd name="connsiteX35" fmla="*/ 786958 w 840347"/>
              <a:gd name="connsiteY35" fmla="*/ 328602 h 1005775"/>
              <a:gd name="connsiteX36" fmla="*/ 661488 w 840347"/>
              <a:gd name="connsiteY36" fmla="*/ 541173 h 1005775"/>
              <a:gd name="connsiteX37" fmla="*/ 642900 w 840347"/>
              <a:gd name="connsiteY37" fmla="*/ 608936 h 1005775"/>
              <a:gd name="connsiteX38" fmla="*/ 516501 w 840347"/>
              <a:gd name="connsiteY38" fmla="*/ 946821 h 1005775"/>
              <a:gd name="connsiteX39" fmla="*/ 487690 w 840347"/>
              <a:gd name="connsiteY39" fmla="*/ 927328 h 1005775"/>
              <a:gd name="connsiteX40" fmla="*/ 32282 w 840347"/>
              <a:gd name="connsiteY40" fmla="*/ 580160 h 1005775"/>
              <a:gd name="connsiteX41" fmla="*/ 3470 w 840347"/>
              <a:gd name="connsiteY41" fmla="*/ 541173 h 1005775"/>
              <a:gd name="connsiteX42" fmla="*/ 303668 w 840347"/>
              <a:gd name="connsiteY42" fmla="*/ 348096 h 1005775"/>
              <a:gd name="connsiteX43" fmla="*/ 361291 w 840347"/>
              <a:gd name="connsiteY43" fmla="*/ 309109 h 1005775"/>
              <a:gd name="connsiteX44" fmla="*/ 584348 w 840347"/>
              <a:gd name="connsiteY44" fmla="*/ 96538 h 1005775"/>
              <a:gd name="connsiteX45" fmla="*/ 748852 w 840347"/>
              <a:gd name="connsiteY45" fmla="*/ 18565 h 1005775"/>
              <a:gd name="connsiteX46" fmla="*/ 797182 w 840347"/>
              <a:gd name="connsiteY46" fmla="*/ 9282 h 1005775"/>
              <a:gd name="connsiteX47" fmla="*/ 816699 w 840347"/>
              <a:gd name="connsiteY47" fmla="*/ 0 h 1005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840347" h="1005775">
                <a:moveTo>
                  <a:pt x="385576" y="791037"/>
                </a:moveTo>
                <a:cubicBezTo>
                  <a:pt x="391715" y="794628"/>
                  <a:pt x="394263" y="801809"/>
                  <a:pt x="389630" y="811538"/>
                </a:cubicBezTo>
                <a:cubicBezTo>
                  <a:pt x="370172" y="859722"/>
                  <a:pt x="321991" y="946824"/>
                  <a:pt x="254352" y="985741"/>
                </a:cubicBezTo>
                <a:cubicBezTo>
                  <a:pt x="234895" y="995007"/>
                  <a:pt x="215437" y="985741"/>
                  <a:pt x="225629" y="966282"/>
                </a:cubicBezTo>
                <a:cubicBezTo>
                  <a:pt x="244160" y="918098"/>
                  <a:pt x="283076" y="841190"/>
                  <a:pt x="359980" y="792079"/>
                </a:cubicBezTo>
                <a:cubicBezTo>
                  <a:pt x="369709" y="787446"/>
                  <a:pt x="379438" y="787446"/>
                  <a:pt x="385576" y="791037"/>
                </a:cubicBezTo>
                <a:close/>
                <a:moveTo>
                  <a:pt x="295901" y="721794"/>
                </a:moveTo>
                <a:cubicBezTo>
                  <a:pt x="301806" y="725373"/>
                  <a:pt x="304122" y="732529"/>
                  <a:pt x="299490" y="741764"/>
                </a:cubicBezTo>
                <a:cubicBezTo>
                  <a:pt x="270777" y="809174"/>
                  <a:pt x="212424" y="934760"/>
                  <a:pt x="96643" y="1002170"/>
                </a:cubicBezTo>
                <a:cubicBezTo>
                  <a:pt x="77192" y="1011405"/>
                  <a:pt x="67930" y="1002170"/>
                  <a:pt x="77192" y="982778"/>
                </a:cubicBezTo>
                <a:cubicBezTo>
                  <a:pt x="96643" y="915368"/>
                  <a:pt x="154997" y="789782"/>
                  <a:pt x="270777" y="723295"/>
                </a:cubicBezTo>
                <a:cubicBezTo>
                  <a:pt x="280503" y="718216"/>
                  <a:pt x="289997" y="718216"/>
                  <a:pt x="295901" y="721794"/>
                </a:cubicBezTo>
                <a:close/>
                <a:moveTo>
                  <a:pt x="197920" y="650863"/>
                </a:moveTo>
                <a:cubicBezTo>
                  <a:pt x="211123" y="649047"/>
                  <a:pt x="220157" y="663571"/>
                  <a:pt x="212513" y="678095"/>
                </a:cubicBezTo>
                <a:cubicBezTo>
                  <a:pt x="193056" y="726047"/>
                  <a:pt x="144875" y="802586"/>
                  <a:pt x="77237" y="850539"/>
                </a:cubicBezTo>
                <a:cubicBezTo>
                  <a:pt x="48514" y="859760"/>
                  <a:pt x="39249" y="850539"/>
                  <a:pt x="48514" y="831173"/>
                </a:cubicBezTo>
                <a:cubicBezTo>
                  <a:pt x="67972" y="783221"/>
                  <a:pt x="106887" y="706682"/>
                  <a:pt x="183790" y="658730"/>
                </a:cubicBezTo>
                <a:cubicBezTo>
                  <a:pt x="188655" y="653888"/>
                  <a:pt x="193519" y="651468"/>
                  <a:pt x="197920" y="650863"/>
                </a:cubicBezTo>
                <a:close/>
                <a:moveTo>
                  <a:pt x="537180" y="286367"/>
                </a:moveTo>
                <a:cubicBezTo>
                  <a:pt x="519057" y="287527"/>
                  <a:pt x="502096" y="294721"/>
                  <a:pt x="487690" y="309109"/>
                </a:cubicBezTo>
                <a:cubicBezTo>
                  <a:pt x="487690" y="318392"/>
                  <a:pt x="487690" y="318392"/>
                  <a:pt x="477466" y="328602"/>
                </a:cubicBezTo>
                <a:cubicBezTo>
                  <a:pt x="458878" y="366661"/>
                  <a:pt x="468172" y="415859"/>
                  <a:pt x="516501" y="434424"/>
                </a:cubicBezTo>
                <a:cubicBezTo>
                  <a:pt x="545313" y="453917"/>
                  <a:pt x="593642" y="453917"/>
                  <a:pt x="613159" y="425141"/>
                </a:cubicBezTo>
                <a:cubicBezTo>
                  <a:pt x="623383" y="415859"/>
                  <a:pt x="623383" y="415859"/>
                  <a:pt x="623383" y="405648"/>
                </a:cubicBezTo>
                <a:cubicBezTo>
                  <a:pt x="652194" y="366661"/>
                  <a:pt x="632677" y="318392"/>
                  <a:pt x="593642" y="299827"/>
                </a:cubicBezTo>
                <a:cubicBezTo>
                  <a:pt x="574589" y="290080"/>
                  <a:pt x="555304" y="285207"/>
                  <a:pt x="537180" y="286367"/>
                </a:cubicBezTo>
                <a:close/>
                <a:moveTo>
                  <a:pt x="816699" y="0"/>
                </a:moveTo>
                <a:lnTo>
                  <a:pt x="825993" y="0"/>
                </a:lnTo>
                <a:cubicBezTo>
                  <a:pt x="836217" y="0"/>
                  <a:pt x="845511" y="0"/>
                  <a:pt x="836217" y="9282"/>
                </a:cubicBezTo>
                <a:lnTo>
                  <a:pt x="836217" y="18565"/>
                </a:lnTo>
                <a:cubicBezTo>
                  <a:pt x="845511" y="28776"/>
                  <a:pt x="836217" y="28776"/>
                  <a:pt x="836217" y="38058"/>
                </a:cubicBezTo>
                <a:cubicBezTo>
                  <a:pt x="836217" y="48269"/>
                  <a:pt x="836217" y="67762"/>
                  <a:pt x="836217" y="86328"/>
                </a:cubicBezTo>
                <a:cubicBezTo>
                  <a:pt x="836217" y="116032"/>
                  <a:pt x="836217" y="154090"/>
                  <a:pt x="825993" y="193077"/>
                </a:cubicBezTo>
                <a:cubicBezTo>
                  <a:pt x="825993" y="202360"/>
                  <a:pt x="825993" y="202360"/>
                  <a:pt x="825993" y="212570"/>
                </a:cubicBezTo>
                <a:cubicBezTo>
                  <a:pt x="816699" y="232064"/>
                  <a:pt x="816699" y="241346"/>
                  <a:pt x="816699" y="250629"/>
                </a:cubicBezTo>
                <a:cubicBezTo>
                  <a:pt x="806476" y="280333"/>
                  <a:pt x="797182" y="309109"/>
                  <a:pt x="786958" y="328602"/>
                </a:cubicBezTo>
                <a:cubicBezTo>
                  <a:pt x="759076" y="396365"/>
                  <a:pt x="720041" y="464128"/>
                  <a:pt x="661488" y="541173"/>
                </a:cubicBezTo>
                <a:cubicBezTo>
                  <a:pt x="652194" y="550456"/>
                  <a:pt x="642900" y="589442"/>
                  <a:pt x="642900" y="608936"/>
                </a:cubicBezTo>
                <a:cubicBezTo>
                  <a:pt x="661488" y="685982"/>
                  <a:pt x="671712" y="859565"/>
                  <a:pt x="516501" y="946821"/>
                </a:cubicBezTo>
                <a:cubicBezTo>
                  <a:pt x="496984" y="966315"/>
                  <a:pt x="477466" y="957032"/>
                  <a:pt x="487690" y="927328"/>
                </a:cubicBezTo>
                <a:cubicBezTo>
                  <a:pt x="487690" y="821507"/>
                  <a:pt x="448655" y="569949"/>
                  <a:pt x="32282" y="580160"/>
                </a:cubicBezTo>
                <a:cubicBezTo>
                  <a:pt x="3470" y="580160"/>
                  <a:pt x="-5824" y="560667"/>
                  <a:pt x="3470" y="541173"/>
                </a:cubicBezTo>
                <a:cubicBezTo>
                  <a:pt x="32282" y="473410"/>
                  <a:pt x="110352" y="337885"/>
                  <a:pt x="303668" y="348096"/>
                </a:cubicBezTo>
                <a:cubicBezTo>
                  <a:pt x="323185" y="348096"/>
                  <a:pt x="351997" y="328602"/>
                  <a:pt x="361291" y="309109"/>
                </a:cubicBezTo>
                <a:cubicBezTo>
                  <a:pt x="400326" y="260840"/>
                  <a:pt x="468172" y="164301"/>
                  <a:pt x="584348" y="96538"/>
                </a:cubicBezTo>
                <a:cubicBezTo>
                  <a:pt x="652194" y="48269"/>
                  <a:pt x="709818" y="28776"/>
                  <a:pt x="748852" y="18565"/>
                </a:cubicBezTo>
                <a:cubicBezTo>
                  <a:pt x="777664" y="18565"/>
                  <a:pt x="797182" y="18565"/>
                  <a:pt x="797182" y="9282"/>
                </a:cubicBezTo>
                <a:cubicBezTo>
                  <a:pt x="806476" y="9282"/>
                  <a:pt x="806476" y="0"/>
                  <a:pt x="816699" y="0"/>
                </a:cubicBez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>
              <a:defRPr/>
            </a:pPr>
            <a:endParaRPr lang="en-US" sz="1200" dirty="0">
              <a:cs typeface="等线" panose="02010600030101010101" charset="-122"/>
            </a:endParaRPr>
          </a:p>
        </p:txBody>
      </p:sp>
      <p:sp>
        <p:nvSpPr>
          <p:cNvPr id="15" name="Freeform 57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spect="1" noChangeArrowheads="1"/>
          </p:cNvSpPr>
          <p:nvPr/>
        </p:nvSpPr>
        <p:spPr bwMode="auto">
          <a:xfrm>
            <a:off x="3518144" y="6229485"/>
            <a:ext cx="243840" cy="243903"/>
          </a:xfrm>
          <a:custGeom>
            <a:avLst/>
            <a:gdLst>
              <a:gd name="T0" fmla="*/ 1664 w 1690"/>
              <a:gd name="T1" fmla="*/ 1037 h 1690"/>
              <a:gd name="T2" fmla="*/ 1689 w 1690"/>
              <a:gd name="T3" fmla="*/ 1037 h 1690"/>
              <a:gd name="T4" fmla="*/ 1689 w 1690"/>
              <a:gd name="T5" fmla="*/ 669 h 1690"/>
              <a:gd name="T6" fmla="*/ 1446 w 1690"/>
              <a:gd name="T7" fmla="*/ 669 h 1690"/>
              <a:gd name="T8" fmla="*/ 1396 w 1690"/>
              <a:gd name="T9" fmla="*/ 543 h 1690"/>
              <a:gd name="T10" fmla="*/ 1547 w 1690"/>
              <a:gd name="T11" fmla="*/ 393 h 1690"/>
              <a:gd name="T12" fmla="*/ 1572 w 1690"/>
              <a:gd name="T13" fmla="*/ 376 h 1690"/>
              <a:gd name="T14" fmla="*/ 1547 w 1690"/>
              <a:gd name="T15" fmla="*/ 359 h 1690"/>
              <a:gd name="T16" fmla="*/ 1329 w 1690"/>
              <a:gd name="T17" fmla="*/ 134 h 1690"/>
              <a:gd name="T18" fmla="*/ 1312 w 1690"/>
              <a:gd name="T19" fmla="*/ 117 h 1690"/>
              <a:gd name="T20" fmla="*/ 1288 w 1690"/>
              <a:gd name="T21" fmla="*/ 134 h 1690"/>
              <a:gd name="T22" fmla="*/ 1137 w 1690"/>
              <a:gd name="T23" fmla="*/ 284 h 1690"/>
              <a:gd name="T24" fmla="*/ 1020 w 1690"/>
              <a:gd name="T25" fmla="*/ 234 h 1690"/>
              <a:gd name="T26" fmla="*/ 1020 w 1690"/>
              <a:gd name="T27" fmla="*/ 0 h 1690"/>
              <a:gd name="T28" fmla="*/ 660 w 1690"/>
              <a:gd name="T29" fmla="*/ 0 h 1690"/>
              <a:gd name="T30" fmla="*/ 660 w 1690"/>
              <a:gd name="T31" fmla="*/ 234 h 1690"/>
              <a:gd name="T32" fmla="*/ 552 w 1690"/>
              <a:gd name="T33" fmla="*/ 284 h 1690"/>
              <a:gd name="T34" fmla="*/ 401 w 1690"/>
              <a:gd name="T35" fmla="*/ 134 h 1690"/>
              <a:gd name="T36" fmla="*/ 385 w 1690"/>
              <a:gd name="T37" fmla="*/ 117 h 1690"/>
              <a:gd name="T38" fmla="*/ 125 w 1690"/>
              <a:gd name="T39" fmla="*/ 376 h 1690"/>
              <a:gd name="T40" fmla="*/ 142 w 1690"/>
              <a:gd name="T41" fmla="*/ 393 h 1690"/>
              <a:gd name="T42" fmla="*/ 284 w 1690"/>
              <a:gd name="T43" fmla="*/ 535 h 1690"/>
              <a:gd name="T44" fmla="*/ 234 w 1690"/>
              <a:gd name="T45" fmla="*/ 660 h 1690"/>
              <a:gd name="T46" fmla="*/ 0 w 1690"/>
              <a:gd name="T47" fmla="*/ 660 h 1690"/>
              <a:gd name="T48" fmla="*/ 0 w 1690"/>
              <a:gd name="T49" fmla="*/ 1028 h 1690"/>
              <a:gd name="T50" fmla="*/ 234 w 1690"/>
              <a:gd name="T51" fmla="*/ 1028 h 1690"/>
              <a:gd name="T52" fmla="*/ 284 w 1690"/>
              <a:gd name="T53" fmla="*/ 1154 h 1690"/>
              <a:gd name="T54" fmla="*/ 142 w 1690"/>
              <a:gd name="T55" fmla="*/ 1296 h 1690"/>
              <a:gd name="T56" fmla="*/ 125 w 1690"/>
              <a:gd name="T57" fmla="*/ 1312 h 1690"/>
              <a:gd name="T58" fmla="*/ 142 w 1690"/>
              <a:gd name="T59" fmla="*/ 1338 h 1690"/>
              <a:gd name="T60" fmla="*/ 359 w 1690"/>
              <a:gd name="T61" fmla="*/ 1555 h 1690"/>
              <a:gd name="T62" fmla="*/ 385 w 1690"/>
              <a:gd name="T63" fmla="*/ 1572 h 1690"/>
              <a:gd name="T64" fmla="*/ 401 w 1690"/>
              <a:gd name="T65" fmla="*/ 1555 h 1690"/>
              <a:gd name="T66" fmla="*/ 552 w 1690"/>
              <a:gd name="T67" fmla="*/ 1413 h 1690"/>
              <a:gd name="T68" fmla="*/ 669 w 1690"/>
              <a:gd name="T69" fmla="*/ 1455 h 1690"/>
              <a:gd name="T70" fmla="*/ 669 w 1690"/>
              <a:gd name="T71" fmla="*/ 1689 h 1690"/>
              <a:gd name="T72" fmla="*/ 1037 w 1690"/>
              <a:gd name="T73" fmla="*/ 1689 h 1690"/>
              <a:gd name="T74" fmla="*/ 1037 w 1690"/>
              <a:gd name="T75" fmla="*/ 1455 h 1690"/>
              <a:gd name="T76" fmla="*/ 1137 w 1690"/>
              <a:gd name="T77" fmla="*/ 1404 h 1690"/>
              <a:gd name="T78" fmla="*/ 1312 w 1690"/>
              <a:gd name="T79" fmla="*/ 1572 h 1690"/>
              <a:gd name="T80" fmla="*/ 1329 w 1690"/>
              <a:gd name="T81" fmla="*/ 1555 h 1690"/>
              <a:gd name="T82" fmla="*/ 1547 w 1690"/>
              <a:gd name="T83" fmla="*/ 1338 h 1690"/>
              <a:gd name="T84" fmla="*/ 1572 w 1690"/>
              <a:gd name="T85" fmla="*/ 1312 h 1690"/>
              <a:gd name="T86" fmla="*/ 1396 w 1690"/>
              <a:gd name="T87" fmla="*/ 1145 h 1690"/>
              <a:gd name="T88" fmla="*/ 1446 w 1690"/>
              <a:gd name="T89" fmla="*/ 1037 h 1690"/>
              <a:gd name="T90" fmla="*/ 1664 w 1690"/>
              <a:gd name="T91" fmla="*/ 1037 h 1690"/>
              <a:gd name="T92" fmla="*/ 1221 w 1690"/>
              <a:gd name="T93" fmla="*/ 844 h 1690"/>
              <a:gd name="T94" fmla="*/ 844 w 1690"/>
              <a:gd name="T95" fmla="*/ 1229 h 1690"/>
              <a:gd name="T96" fmla="*/ 460 w 1690"/>
              <a:gd name="T97" fmla="*/ 844 h 1690"/>
              <a:gd name="T98" fmla="*/ 844 w 1690"/>
              <a:gd name="T99" fmla="*/ 468 h 1690"/>
              <a:gd name="T100" fmla="*/ 1221 w 1690"/>
              <a:gd name="T101" fmla="*/ 844 h 1690"/>
              <a:gd name="T102" fmla="*/ 1221 w 1690"/>
              <a:gd name="T103" fmla="*/ 844 h 1690"/>
              <a:gd name="T104" fmla="*/ 1221 w 1690"/>
              <a:gd name="T105" fmla="*/ 844 h 1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690" h="1690">
                <a:moveTo>
                  <a:pt x="1664" y="1037"/>
                </a:moveTo>
                <a:cubicBezTo>
                  <a:pt x="1689" y="1037"/>
                  <a:pt x="1689" y="1037"/>
                  <a:pt x="1689" y="1037"/>
                </a:cubicBezTo>
                <a:cubicBezTo>
                  <a:pt x="1689" y="669"/>
                  <a:pt x="1689" y="669"/>
                  <a:pt x="1689" y="669"/>
                </a:cubicBezTo>
                <a:cubicBezTo>
                  <a:pt x="1446" y="669"/>
                  <a:pt x="1446" y="669"/>
                  <a:pt x="1446" y="669"/>
                </a:cubicBezTo>
                <a:cubicBezTo>
                  <a:pt x="1438" y="627"/>
                  <a:pt x="1421" y="585"/>
                  <a:pt x="1396" y="543"/>
                </a:cubicBezTo>
                <a:cubicBezTo>
                  <a:pt x="1547" y="393"/>
                  <a:pt x="1547" y="393"/>
                  <a:pt x="1547" y="393"/>
                </a:cubicBezTo>
                <a:cubicBezTo>
                  <a:pt x="1572" y="376"/>
                  <a:pt x="1572" y="376"/>
                  <a:pt x="1572" y="376"/>
                </a:cubicBezTo>
                <a:cubicBezTo>
                  <a:pt x="1547" y="359"/>
                  <a:pt x="1547" y="359"/>
                  <a:pt x="1547" y="359"/>
                </a:cubicBezTo>
                <a:cubicBezTo>
                  <a:pt x="1329" y="134"/>
                  <a:pt x="1329" y="134"/>
                  <a:pt x="1329" y="134"/>
                </a:cubicBezTo>
                <a:cubicBezTo>
                  <a:pt x="1312" y="117"/>
                  <a:pt x="1312" y="117"/>
                  <a:pt x="1312" y="117"/>
                </a:cubicBezTo>
                <a:cubicBezTo>
                  <a:pt x="1288" y="134"/>
                  <a:pt x="1288" y="134"/>
                  <a:pt x="1288" y="134"/>
                </a:cubicBezTo>
                <a:cubicBezTo>
                  <a:pt x="1137" y="284"/>
                  <a:pt x="1137" y="284"/>
                  <a:pt x="1137" y="284"/>
                </a:cubicBezTo>
                <a:cubicBezTo>
                  <a:pt x="1104" y="267"/>
                  <a:pt x="1062" y="251"/>
                  <a:pt x="1020" y="234"/>
                </a:cubicBezTo>
                <a:cubicBezTo>
                  <a:pt x="1020" y="0"/>
                  <a:pt x="1020" y="0"/>
                  <a:pt x="1020" y="0"/>
                </a:cubicBezTo>
                <a:cubicBezTo>
                  <a:pt x="660" y="0"/>
                  <a:pt x="660" y="0"/>
                  <a:pt x="660" y="0"/>
                </a:cubicBezTo>
                <a:cubicBezTo>
                  <a:pt x="660" y="234"/>
                  <a:pt x="660" y="234"/>
                  <a:pt x="660" y="234"/>
                </a:cubicBezTo>
                <a:cubicBezTo>
                  <a:pt x="619" y="251"/>
                  <a:pt x="585" y="267"/>
                  <a:pt x="552" y="284"/>
                </a:cubicBezTo>
                <a:cubicBezTo>
                  <a:pt x="401" y="134"/>
                  <a:pt x="401" y="134"/>
                  <a:pt x="401" y="134"/>
                </a:cubicBezTo>
                <a:cubicBezTo>
                  <a:pt x="385" y="117"/>
                  <a:pt x="385" y="117"/>
                  <a:pt x="385" y="117"/>
                </a:cubicBezTo>
                <a:cubicBezTo>
                  <a:pt x="125" y="376"/>
                  <a:pt x="125" y="376"/>
                  <a:pt x="125" y="376"/>
                </a:cubicBezTo>
                <a:cubicBezTo>
                  <a:pt x="142" y="393"/>
                  <a:pt x="142" y="393"/>
                  <a:pt x="142" y="393"/>
                </a:cubicBezTo>
                <a:cubicBezTo>
                  <a:pt x="284" y="535"/>
                  <a:pt x="284" y="535"/>
                  <a:pt x="284" y="535"/>
                </a:cubicBezTo>
                <a:cubicBezTo>
                  <a:pt x="267" y="577"/>
                  <a:pt x="251" y="619"/>
                  <a:pt x="234" y="660"/>
                </a:cubicBezTo>
                <a:cubicBezTo>
                  <a:pt x="0" y="660"/>
                  <a:pt x="0" y="660"/>
                  <a:pt x="0" y="660"/>
                </a:cubicBezTo>
                <a:cubicBezTo>
                  <a:pt x="0" y="1028"/>
                  <a:pt x="0" y="1028"/>
                  <a:pt x="0" y="1028"/>
                </a:cubicBezTo>
                <a:cubicBezTo>
                  <a:pt x="234" y="1028"/>
                  <a:pt x="234" y="1028"/>
                  <a:pt x="234" y="1028"/>
                </a:cubicBezTo>
                <a:cubicBezTo>
                  <a:pt x="242" y="1070"/>
                  <a:pt x="259" y="1112"/>
                  <a:pt x="284" y="1154"/>
                </a:cubicBezTo>
                <a:cubicBezTo>
                  <a:pt x="142" y="1296"/>
                  <a:pt x="142" y="1296"/>
                  <a:pt x="142" y="1296"/>
                </a:cubicBezTo>
                <a:cubicBezTo>
                  <a:pt x="125" y="1312"/>
                  <a:pt x="125" y="1312"/>
                  <a:pt x="125" y="1312"/>
                </a:cubicBezTo>
                <a:cubicBezTo>
                  <a:pt x="142" y="1338"/>
                  <a:pt x="142" y="1338"/>
                  <a:pt x="142" y="1338"/>
                </a:cubicBezTo>
                <a:cubicBezTo>
                  <a:pt x="359" y="1555"/>
                  <a:pt x="359" y="1555"/>
                  <a:pt x="359" y="1555"/>
                </a:cubicBezTo>
                <a:cubicBezTo>
                  <a:pt x="385" y="1572"/>
                  <a:pt x="385" y="1572"/>
                  <a:pt x="385" y="1572"/>
                </a:cubicBezTo>
                <a:cubicBezTo>
                  <a:pt x="401" y="1555"/>
                  <a:pt x="401" y="1555"/>
                  <a:pt x="401" y="1555"/>
                </a:cubicBezTo>
                <a:cubicBezTo>
                  <a:pt x="552" y="1413"/>
                  <a:pt x="552" y="1413"/>
                  <a:pt x="552" y="1413"/>
                </a:cubicBezTo>
                <a:cubicBezTo>
                  <a:pt x="585" y="1430"/>
                  <a:pt x="627" y="1446"/>
                  <a:pt x="669" y="1455"/>
                </a:cubicBezTo>
                <a:cubicBezTo>
                  <a:pt x="669" y="1689"/>
                  <a:pt x="669" y="1689"/>
                  <a:pt x="669" y="1689"/>
                </a:cubicBezTo>
                <a:cubicBezTo>
                  <a:pt x="1037" y="1689"/>
                  <a:pt x="1037" y="1689"/>
                  <a:pt x="1037" y="1689"/>
                </a:cubicBezTo>
                <a:cubicBezTo>
                  <a:pt x="1037" y="1455"/>
                  <a:pt x="1037" y="1455"/>
                  <a:pt x="1037" y="1455"/>
                </a:cubicBezTo>
                <a:cubicBezTo>
                  <a:pt x="1070" y="1438"/>
                  <a:pt x="1104" y="1421"/>
                  <a:pt x="1137" y="1404"/>
                </a:cubicBezTo>
                <a:cubicBezTo>
                  <a:pt x="1312" y="1572"/>
                  <a:pt x="1312" y="1572"/>
                  <a:pt x="1312" y="1572"/>
                </a:cubicBezTo>
                <a:cubicBezTo>
                  <a:pt x="1329" y="1555"/>
                  <a:pt x="1329" y="1555"/>
                  <a:pt x="1329" y="1555"/>
                </a:cubicBezTo>
                <a:cubicBezTo>
                  <a:pt x="1547" y="1338"/>
                  <a:pt x="1547" y="1338"/>
                  <a:pt x="1547" y="1338"/>
                </a:cubicBezTo>
                <a:cubicBezTo>
                  <a:pt x="1572" y="1312"/>
                  <a:pt x="1572" y="1312"/>
                  <a:pt x="1572" y="1312"/>
                </a:cubicBezTo>
                <a:cubicBezTo>
                  <a:pt x="1396" y="1145"/>
                  <a:pt x="1396" y="1145"/>
                  <a:pt x="1396" y="1145"/>
                </a:cubicBezTo>
                <a:cubicBezTo>
                  <a:pt x="1421" y="1112"/>
                  <a:pt x="1438" y="1070"/>
                  <a:pt x="1446" y="1037"/>
                </a:cubicBezTo>
                <a:cubicBezTo>
                  <a:pt x="1664" y="1037"/>
                  <a:pt x="1664" y="1037"/>
                  <a:pt x="1664" y="1037"/>
                </a:cubicBezTo>
                <a:close/>
                <a:moveTo>
                  <a:pt x="1221" y="844"/>
                </a:moveTo>
                <a:cubicBezTo>
                  <a:pt x="1221" y="1053"/>
                  <a:pt x="1053" y="1229"/>
                  <a:pt x="844" y="1229"/>
                </a:cubicBezTo>
                <a:cubicBezTo>
                  <a:pt x="635" y="1229"/>
                  <a:pt x="460" y="1053"/>
                  <a:pt x="460" y="844"/>
                </a:cubicBezTo>
                <a:cubicBezTo>
                  <a:pt x="460" y="635"/>
                  <a:pt x="635" y="468"/>
                  <a:pt x="844" y="468"/>
                </a:cubicBezTo>
                <a:cubicBezTo>
                  <a:pt x="1053" y="468"/>
                  <a:pt x="1221" y="635"/>
                  <a:pt x="1221" y="844"/>
                </a:cubicBezTo>
                <a:close/>
                <a:moveTo>
                  <a:pt x="1221" y="844"/>
                </a:moveTo>
                <a:lnTo>
                  <a:pt x="1221" y="844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txBody>
          <a:bodyPr wrap="none" lIns="81278" tIns="40639" rIns="81278" bIns="40639" anchor="ctr"/>
          <a:lstStyle/>
          <a:p>
            <a:pPr>
              <a:defRPr/>
            </a:pPr>
            <a:endParaRPr lang="en-US" sz="1200" dirty="0">
              <a:ea typeface="宋体" panose="02010600030101010101" pitchFamily="2" charset="-122"/>
              <a:cs typeface="等线" panose="02010600030101010101" charset="-122"/>
            </a:endParaRPr>
          </a:p>
        </p:txBody>
      </p:sp>
      <p:sp>
        <p:nvSpPr>
          <p:cNvPr id="17" name="AutoShape 2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spect="1"/>
          </p:cNvSpPr>
          <p:nvPr/>
        </p:nvSpPr>
        <p:spPr bwMode="auto">
          <a:xfrm>
            <a:off x="9187543" y="1844301"/>
            <a:ext cx="243840" cy="24390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3598" y="2167"/>
                </a:moveTo>
                <a:cubicBezTo>
                  <a:pt x="3598" y="2549"/>
                  <a:pt x="3517" y="2902"/>
                  <a:pt x="3358" y="3213"/>
                </a:cubicBezTo>
                <a:cubicBezTo>
                  <a:pt x="3197" y="3525"/>
                  <a:pt x="2981" y="3792"/>
                  <a:pt x="2707" y="4006"/>
                </a:cubicBezTo>
                <a:lnTo>
                  <a:pt x="2707" y="21050"/>
                </a:lnTo>
                <a:cubicBezTo>
                  <a:pt x="2707" y="21203"/>
                  <a:pt x="2663" y="21329"/>
                  <a:pt x="2580" y="21438"/>
                </a:cubicBezTo>
                <a:cubicBezTo>
                  <a:pt x="2492" y="21547"/>
                  <a:pt x="2386" y="21599"/>
                  <a:pt x="2262" y="21599"/>
                </a:cubicBezTo>
                <a:lnTo>
                  <a:pt x="1348" y="21599"/>
                </a:lnTo>
                <a:cubicBezTo>
                  <a:pt x="1221" y="21599"/>
                  <a:pt x="1118" y="21544"/>
                  <a:pt x="1038" y="21438"/>
                </a:cubicBezTo>
                <a:cubicBezTo>
                  <a:pt x="954" y="21329"/>
                  <a:pt x="913" y="21203"/>
                  <a:pt x="913" y="21050"/>
                </a:cubicBezTo>
                <a:lnTo>
                  <a:pt x="913" y="4006"/>
                </a:lnTo>
                <a:cubicBezTo>
                  <a:pt x="641" y="3792"/>
                  <a:pt x="421" y="3525"/>
                  <a:pt x="252" y="3213"/>
                </a:cubicBezTo>
                <a:cubicBezTo>
                  <a:pt x="83" y="2902"/>
                  <a:pt x="0" y="2549"/>
                  <a:pt x="0" y="2167"/>
                </a:cubicBezTo>
                <a:cubicBezTo>
                  <a:pt x="0" y="1574"/>
                  <a:pt x="176" y="1069"/>
                  <a:pt x="528" y="640"/>
                </a:cubicBezTo>
                <a:cubicBezTo>
                  <a:pt x="878" y="211"/>
                  <a:pt x="1304" y="0"/>
                  <a:pt x="1804" y="0"/>
                </a:cubicBezTo>
                <a:cubicBezTo>
                  <a:pt x="2296" y="0"/>
                  <a:pt x="2719" y="211"/>
                  <a:pt x="3069" y="640"/>
                </a:cubicBezTo>
                <a:cubicBezTo>
                  <a:pt x="3422" y="1069"/>
                  <a:pt x="3598" y="1571"/>
                  <a:pt x="3598" y="2167"/>
                </a:cubicBezTo>
                <a:moveTo>
                  <a:pt x="20838" y="2476"/>
                </a:moveTo>
                <a:cubicBezTo>
                  <a:pt x="21063" y="2323"/>
                  <a:pt x="21247" y="2297"/>
                  <a:pt x="21389" y="2391"/>
                </a:cubicBezTo>
                <a:cubicBezTo>
                  <a:pt x="21529" y="2485"/>
                  <a:pt x="21599" y="2684"/>
                  <a:pt x="21599" y="2996"/>
                </a:cubicBezTo>
                <a:lnTo>
                  <a:pt x="21599" y="13515"/>
                </a:lnTo>
                <a:cubicBezTo>
                  <a:pt x="21599" y="13803"/>
                  <a:pt x="21526" y="14106"/>
                  <a:pt x="21382" y="14420"/>
                </a:cubicBezTo>
                <a:cubicBezTo>
                  <a:pt x="21237" y="14737"/>
                  <a:pt x="21056" y="14966"/>
                  <a:pt x="20838" y="15119"/>
                </a:cubicBezTo>
                <a:cubicBezTo>
                  <a:pt x="19954" y="15757"/>
                  <a:pt x="19146" y="16165"/>
                  <a:pt x="18412" y="16350"/>
                </a:cubicBezTo>
                <a:cubicBezTo>
                  <a:pt x="17678" y="16529"/>
                  <a:pt x="17036" y="16606"/>
                  <a:pt x="16490" y="16567"/>
                </a:cubicBezTo>
                <a:cubicBezTo>
                  <a:pt x="15849" y="16526"/>
                  <a:pt x="15281" y="16371"/>
                  <a:pt x="14791" y="16103"/>
                </a:cubicBezTo>
                <a:cubicBezTo>
                  <a:pt x="14392" y="15851"/>
                  <a:pt x="14003" y="15607"/>
                  <a:pt x="13623" y="15378"/>
                </a:cubicBezTo>
                <a:cubicBezTo>
                  <a:pt x="13244" y="15146"/>
                  <a:pt x="12857" y="14946"/>
                  <a:pt x="12458" y="14773"/>
                </a:cubicBezTo>
                <a:cubicBezTo>
                  <a:pt x="12059" y="14599"/>
                  <a:pt x="11640" y="14461"/>
                  <a:pt x="11197" y="14358"/>
                </a:cubicBezTo>
                <a:cubicBezTo>
                  <a:pt x="10757" y="14256"/>
                  <a:pt x="10269" y="14203"/>
                  <a:pt x="9738" y="14203"/>
                </a:cubicBezTo>
                <a:cubicBezTo>
                  <a:pt x="9310" y="14220"/>
                  <a:pt x="8825" y="14306"/>
                  <a:pt x="8286" y="14455"/>
                </a:cubicBezTo>
                <a:cubicBezTo>
                  <a:pt x="7824" y="14588"/>
                  <a:pt x="7266" y="14799"/>
                  <a:pt x="6605" y="15090"/>
                </a:cubicBezTo>
                <a:cubicBezTo>
                  <a:pt x="5944" y="15381"/>
                  <a:pt x="5207" y="15792"/>
                  <a:pt x="4394" y="16327"/>
                </a:cubicBezTo>
                <a:cubicBezTo>
                  <a:pt x="4169" y="16476"/>
                  <a:pt x="3978" y="16494"/>
                  <a:pt x="3826" y="16382"/>
                </a:cubicBezTo>
                <a:cubicBezTo>
                  <a:pt x="3674" y="16268"/>
                  <a:pt x="3598" y="16059"/>
                  <a:pt x="3598" y="15751"/>
                </a:cubicBezTo>
                <a:lnTo>
                  <a:pt x="3598" y="5273"/>
                </a:lnTo>
                <a:cubicBezTo>
                  <a:pt x="3598" y="4964"/>
                  <a:pt x="3674" y="4653"/>
                  <a:pt x="3826" y="4347"/>
                </a:cubicBezTo>
                <a:cubicBezTo>
                  <a:pt x="3978" y="4036"/>
                  <a:pt x="4169" y="3807"/>
                  <a:pt x="4394" y="3654"/>
                </a:cubicBezTo>
                <a:cubicBezTo>
                  <a:pt x="5207" y="3143"/>
                  <a:pt x="5941" y="2737"/>
                  <a:pt x="6597" y="2447"/>
                </a:cubicBezTo>
                <a:cubicBezTo>
                  <a:pt x="7253" y="2156"/>
                  <a:pt x="7816" y="1944"/>
                  <a:pt x="8286" y="1812"/>
                </a:cubicBezTo>
                <a:cubicBezTo>
                  <a:pt x="8832" y="1665"/>
                  <a:pt x="9317" y="1580"/>
                  <a:pt x="9738" y="1559"/>
                </a:cubicBezTo>
                <a:cubicBezTo>
                  <a:pt x="10269" y="1559"/>
                  <a:pt x="10757" y="1612"/>
                  <a:pt x="11197" y="1715"/>
                </a:cubicBezTo>
                <a:cubicBezTo>
                  <a:pt x="11640" y="1818"/>
                  <a:pt x="12059" y="1956"/>
                  <a:pt x="12458" y="2135"/>
                </a:cubicBezTo>
                <a:cubicBezTo>
                  <a:pt x="12857" y="2306"/>
                  <a:pt x="13242" y="2508"/>
                  <a:pt x="13619" y="2737"/>
                </a:cubicBezTo>
                <a:cubicBezTo>
                  <a:pt x="13993" y="2967"/>
                  <a:pt x="14385" y="3207"/>
                  <a:pt x="14791" y="3463"/>
                </a:cubicBezTo>
                <a:cubicBezTo>
                  <a:pt x="15281" y="3736"/>
                  <a:pt x="15849" y="3889"/>
                  <a:pt x="16490" y="3924"/>
                </a:cubicBezTo>
                <a:cubicBezTo>
                  <a:pt x="17036" y="3965"/>
                  <a:pt x="17678" y="3889"/>
                  <a:pt x="18412" y="3707"/>
                </a:cubicBezTo>
                <a:cubicBezTo>
                  <a:pt x="19146" y="3522"/>
                  <a:pt x="19957" y="3113"/>
                  <a:pt x="20838" y="2476"/>
                </a:cubicBezTo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txBody>
          <a:bodyPr lIns="67719" tIns="67719" rIns="67719" bIns="67719" anchor="ctr"/>
          <a:lstStyle/>
          <a:p>
            <a:pPr defTabSz="609600">
              <a:defRPr/>
            </a:pPr>
            <a:endParaRPr lang="es-ES" sz="3865" dirty="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20" name="AutoShape 8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spect="1"/>
          </p:cNvSpPr>
          <p:nvPr/>
        </p:nvSpPr>
        <p:spPr bwMode="auto">
          <a:xfrm>
            <a:off x="6110514" y="5220322"/>
            <a:ext cx="243840" cy="17871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782" y="15633"/>
                </a:moveTo>
                <a:cubicBezTo>
                  <a:pt x="11211" y="15633"/>
                  <a:pt x="11622" y="15565"/>
                  <a:pt x="12011" y="15416"/>
                </a:cubicBezTo>
                <a:cubicBezTo>
                  <a:pt x="12403" y="15272"/>
                  <a:pt x="12778" y="15084"/>
                  <a:pt x="13138" y="14855"/>
                </a:cubicBezTo>
                <a:cubicBezTo>
                  <a:pt x="13498" y="14626"/>
                  <a:pt x="13845" y="14361"/>
                  <a:pt x="14181" y="14073"/>
                </a:cubicBezTo>
                <a:cubicBezTo>
                  <a:pt x="14516" y="13774"/>
                  <a:pt x="14844" y="13471"/>
                  <a:pt x="15168" y="13160"/>
                </a:cubicBezTo>
                <a:cubicBezTo>
                  <a:pt x="16142" y="12226"/>
                  <a:pt x="17126" y="11306"/>
                  <a:pt x="18120" y="10410"/>
                </a:cubicBezTo>
                <a:cubicBezTo>
                  <a:pt x="19112" y="9515"/>
                  <a:pt x="20113" y="8616"/>
                  <a:pt x="21120" y="7714"/>
                </a:cubicBezTo>
                <a:cubicBezTo>
                  <a:pt x="21198" y="7640"/>
                  <a:pt x="21279" y="7570"/>
                  <a:pt x="21360" y="7496"/>
                </a:cubicBezTo>
                <a:cubicBezTo>
                  <a:pt x="21443" y="7429"/>
                  <a:pt x="21524" y="7347"/>
                  <a:pt x="21599" y="7250"/>
                </a:cubicBezTo>
                <a:lnTo>
                  <a:pt x="21599" y="19981"/>
                </a:lnTo>
                <a:cubicBezTo>
                  <a:pt x="21599" y="20416"/>
                  <a:pt x="21470" y="20800"/>
                  <a:pt x="21208" y="21118"/>
                </a:cubicBezTo>
                <a:cubicBezTo>
                  <a:pt x="20946" y="21438"/>
                  <a:pt x="20632" y="21599"/>
                  <a:pt x="20265" y="21599"/>
                </a:cubicBezTo>
                <a:lnTo>
                  <a:pt x="1346" y="21599"/>
                </a:lnTo>
                <a:cubicBezTo>
                  <a:pt x="979" y="21599"/>
                  <a:pt x="663" y="21438"/>
                  <a:pt x="396" y="21118"/>
                </a:cubicBezTo>
                <a:cubicBezTo>
                  <a:pt x="132" y="20803"/>
                  <a:pt x="0" y="20419"/>
                  <a:pt x="0" y="19981"/>
                </a:cubicBezTo>
                <a:lnTo>
                  <a:pt x="0" y="7250"/>
                </a:lnTo>
                <a:cubicBezTo>
                  <a:pt x="75" y="7347"/>
                  <a:pt x="156" y="7429"/>
                  <a:pt x="239" y="7496"/>
                </a:cubicBezTo>
                <a:cubicBezTo>
                  <a:pt x="320" y="7570"/>
                  <a:pt x="401" y="7640"/>
                  <a:pt x="479" y="7714"/>
                </a:cubicBezTo>
                <a:cubicBezTo>
                  <a:pt x="1488" y="8616"/>
                  <a:pt x="2487" y="9514"/>
                  <a:pt x="3481" y="10410"/>
                </a:cubicBezTo>
                <a:cubicBezTo>
                  <a:pt x="4473" y="11306"/>
                  <a:pt x="5457" y="12223"/>
                  <a:pt x="6434" y="13160"/>
                </a:cubicBezTo>
                <a:cubicBezTo>
                  <a:pt x="6738" y="13454"/>
                  <a:pt x="7058" y="13744"/>
                  <a:pt x="7394" y="14038"/>
                </a:cubicBezTo>
                <a:cubicBezTo>
                  <a:pt x="7729" y="14338"/>
                  <a:pt x="8079" y="14599"/>
                  <a:pt x="8437" y="14840"/>
                </a:cubicBezTo>
                <a:cubicBezTo>
                  <a:pt x="8797" y="15075"/>
                  <a:pt x="9174" y="15269"/>
                  <a:pt x="9568" y="15413"/>
                </a:cubicBezTo>
                <a:cubicBezTo>
                  <a:pt x="9965" y="15563"/>
                  <a:pt x="10371" y="15633"/>
                  <a:pt x="10782" y="15633"/>
                </a:cubicBezTo>
                <a:moveTo>
                  <a:pt x="10782" y="12413"/>
                </a:moveTo>
                <a:cubicBezTo>
                  <a:pt x="10540" y="12413"/>
                  <a:pt x="10278" y="12334"/>
                  <a:pt x="9996" y="12167"/>
                </a:cubicBezTo>
                <a:cubicBezTo>
                  <a:pt x="9715" y="12005"/>
                  <a:pt x="9441" y="11806"/>
                  <a:pt x="9171" y="11576"/>
                </a:cubicBezTo>
                <a:cubicBezTo>
                  <a:pt x="8900" y="11347"/>
                  <a:pt x="8638" y="11106"/>
                  <a:pt x="8380" y="10854"/>
                </a:cubicBezTo>
                <a:cubicBezTo>
                  <a:pt x="8121" y="10601"/>
                  <a:pt x="7896" y="10390"/>
                  <a:pt x="7700" y="10222"/>
                </a:cubicBezTo>
                <a:cubicBezTo>
                  <a:pt x="6752" y="9356"/>
                  <a:pt x="5819" y="8507"/>
                  <a:pt x="4891" y="7664"/>
                </a:cubicBezTo>
                <a:cubicBezTo>
                  <a:pt x="3966" y="6815"/>
                  <a:pt x="3023" y="5960"/>
                  <a:pt x="2061" y="5087"/>
                </a:cubicBezTo>
                <a:cubicBezTo>
                  <a:pt x="1882" y="4920"/>
                  <a:pt x="1672" y="4691"/>
                  <a:pt x="1434" y="4406"/>
                </a:cubicBezTo>
                <a:cubicBezTo>
                  <a:pt x="1194" y="4118"/>
                  <a:pt x="974" y="3804"/>
                  <a:pt x="766" y="3460"/>
                </a:cubicBezTo>
                <a:cubicBezTo>
                  <a:pt x="560" y="3110"/>
                  <a:pt x="384" y="2761"/>
                  <a:pt x="239" y="2405"/>
                </a:cubicBezTo>
                <a:cubicBezTo>
                  <a:pt x="95" y="2050"/>
                  <a:pt x="22" y="1724"/>
                  <a:pt x="22" y="1436"/>
                </a:cubicBezTo>
                <a:cubicBezTo>
                  <a:pt x="22" y="1051"/>
                  <a:pt x="164" y="713"/>
                  <a:pt x="443" y="425"/>
                </a:cubicBezTo>
                <a:cubicBezTo>
                  <a:pt x="727" y="143"/>
                  <a:pt x="1025" y="0"/>
                  <a:pt x="1346" y="0"/>
                </a:cubicBezTo>
                <a:lnTo>
                  <a:pt x="20265" y="0"/>
                </a:lnTo>
                <a:cubicBezTo>
                  <a:pt x="20583" y="0"/>
                  <a:pt x="20882" y="143"/>
                  <a:pt x="21161" y="425"/>
                </a:cubicBezTo>
                <a:cubicBezTo>
                  <a:pt x="21438" y="713"/>
                  <a:pt x="21577" y="1051"/>
                  <a:pt x="21577" y="1436"/>
                </a:cubicBezTo>
                <a:cubicBezTo>
                  <a:pt x="21577" y="1724"/>
                  <a:pt x="21504" y="2050"/>
                  <a:pt x="21360" y="2405"/>
                </a:cubicBezTo>
                <a:cubicBezTo>
                  <a:pt x="21215" y="2761"/>
                  <a:pt x="21039" y="3110"/>
                  <a:pt x="20833" y="3460"/>
                </a:cubicBezTo>
                <a:cubicBezTo>
                  <a:pt x="20627" y="3804"/>
                  <a:pt x="20402" y="4121"/>
                  <a:pt x="20165" y="4406"/>
                </a:cubicBezTo>
                <a:cubicBezTo>
                  <a:pt x="19927" y="4691"/>
                  <a:pt x="19717" y="4923"/>
                  <a:pt x="19538" y="5087"/>
                </a:cubicBezTo>
                <a:cubicBezTo>
                  <a:pt x="18578" y="5948"/>
                  <a:pt x="17633" y="6803"/>
                  <a:pt x="16708" y="7652"/>
                </a:cubicBezTo>
                <a:cubicBezTo>
                  <a:pt x="15782" y="8501"/>
                  <a:pt x="14844" y="9356"/>
                  <a:pt x="13899" y="10222"/>
                </a:cubicBezTo>
                <a:cubicBezTo>
                  <a:pt x="13703" y="10390"/>
                  <a:pt x="13481" y="10601"/>
                  <a:pt x="13226" y="10854"/>
                </a:cubicBezTo>
                <a:cubicBezTo>
                  <a:pt x="12971" y="11106"/>
                  <a:pt x="12709" y="11347"/>
                  <a:pt x="12435" y="11576"/>
                </a:cubicBezTo>
                <a:cubicBezTo>
                  <a:pt x="12161" y="11806"/>
                  <a:pt x="11884" y="12005"/>
                  <a:pt x="11603" y="12167"/>
                </a:cubicBezTo>
                <a:cubicBezTo>
                  <a:pt x="11321" y="12334"/>
                  <a:pt x="11064" y="12413"/>
                  <a:pt x="10829" y="12413"/>
                </a:cubicBezTo>
                <a:lnTo>
                  <a:pt x="10804" y="12413"/>
                </a:lnTo>
                <a:lnTo>
                  <a:pt x="10782" y="12413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txBody>
          <a:bodyPr lIns="25400" tIns="25400" rIns="25400" bIns="25400" anchor="ctr"/>
          <a:lstStyle/>
          <a:p>
            <a:pPr defTabSz="228600">
              <a:defRPr/>
            </a:pPr>
            <a:endParaRPr lang="es-ES" sz="1465" dirty="0">
              <a:solidFill>
                <a:srgbClr val="44CEB9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32" name="Text Placeholder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720570" y="864850"/>
            <a:ext cx="10750859" cy="445250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>
            <a:defPPr>
              <a:defRPr lang="zh-CN"/>
            </a:defPPr>
            <a:lvl1pPr lvl="0" algn="r">
              <a:lnSpc>
                <a:spcPct val="80000"/>
              </a:lnSpc>
              <a:defRPr sz="3200" b="1">
                <a:solidFill>
                  <a:schemeClr val="tx1">
                    <a:lumMod val="85000"/>
                    <a:lumOff val="15000"/>
                  </a:schemeClr>
                </a:solidFill>
                <a:ea typeface="Open Sans SemiBold" panose="020B0706030804020204"/>
                <a:cs typeface="Open Sans SemiBold" panose="020B0706030804020204"/>
              </a:defRPr>
            </a:lvl1pPr>
          </a:lstStyle>
          <a:p>
            <a:pPr algn="ctr"/>
            <a:r>
              <a:rPr lang="en-US" dirty="0">
                <a:ea typeface="微软雅黑" panose="020B0503020204020204" pitchFamily="34" charset="-122"/>
                <a:cs typeface="等线" panose="02010600030101010101" charset="-122"/>
              </a:rPr>
              <a:t>Process Infographic</a:t>
            </a:r>
            <a:endParaRPr lang="id-ID" dirty="0">
              <a:ea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33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1"/>
            </p:custDataLst>
          </p:nvPr>
        </p:nvSpPr>
        <p:spPr>
          <a:xfrm>
            <a:off x="3717388" y="392903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sp>
        <p:nvSpPr>
          <p:cNvPr id="34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1230922" y="4076145"/>
            <a:ext cx="2371977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</a:t>
            </a:r>
          </a:p>
        </p:txBody>
      </p:sp>
      <p:sp>
        <p:nvSpPr>
          <p:cNvPr id="37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2"/>
            </p:custDataLst>
          </p:nvPr>
        </p:nvSpPr>
        <p:spPr>
          <a:xfrm>
            <a:off x="6518319" y="5064550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sp>
        <p:nvSpPr>
          <p:cNvPr id="38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6594446" y="5450271"/>
            <a:ext cx="2531969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</a:t>
            </a:r>
          </a:p>
        </p:txBody>
      </p:sp>
      <p:sp>
        <p:nvSpPr>
          <p:cNvPr id="39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3"/>
            </p:custDataLst>
          </p:nvPr>
        </p:nvSpPr>
        <p:spPr>
          <a:xfrm>
            <a:off x="1283676" y="3757426"/>
            <a:ext cx="2312963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grpSp>
        <p:nvGrpSpPr>
          <p:cNvPr id="40" name="组合 3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751766" y="1421866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41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42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43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3724023" y="2610760"/>
            <a:ext cx="2371977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</a:t>
            </a:r>
          </a:p>
        </p:txBody>
      </p:sp>
      <p:sp>
        <p:nvSpPr>
          <p:cNvPr id="44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4"/>
            </p:custDataLst>
          </p:nvPr>
        </p:nvSpPr>
        <p:spPr>
          <a:xfrm>
            <a:off x="3776777" y="2292041"/>
            <a:ext cx="2312963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sp>
        <p:nvSpPr>
          <p:cNvPr id="45" name="Rectangle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>
            <p:custDataLst>
              <p:tags r:id="rId5"/>
            </p:custDataLst>
          </p:nvPr>
        </p:nvSpPr>
        <p:spPr>
          <a:xfrm>
            <a:off x="8376427" y="3669504"/>
            <a:ext cx="4511040" cy="42558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>
                <a:gradFill>
                  <a:gsLst>
                    <a:gs pos="2000">
                      <a:schemeClr val="accent4"/>
                    </a:gs>
                    <a:gs pos="100000">
                      <a:schemeClr val="accent4">
                        <a:lumMod val="75000"/>
                      </a:schemeClr>
                    </a:gs>
                  </a:gsLst>
                  <a:lin ang="2700000" scaled="1"/>
                </a:gra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Put Your Great Subtitle Here</a:t>
            </a:r>
          </a:p>
        </p:txBody>
      </p:sp>
      <p:sp>
        <p:nvSpPr>
          <p:cNvPr id="46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8452554" y="4055225"/>
            <a:ext cx="2531969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>
                <a:solidFill>
                  <a:schemeClr val="tx2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</a:t>
            </a:r>
          </a:p>
        </p:txBody>
      </p:sp>
      <p:sp>
        <p:nvSpPr>
          <p:cNvPr id="10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7" name="文本框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338668"/>
            <a:ext cx="9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cs typeface="等线" panose="02010600030101010101" charset="-122"/>
              </a:rPr>
              <a:t>WATER</a:t>
            </a:r>
          </a:p>
        </p:txBody>
      </p:sp>
      <p:sp>
        <p:nvSpPr>
          <p:cNvPr id="8" name="TextBox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886577"/>
            <a:ext cx="23027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BUSINESS PRESENTATION TEMPLATE</a:t>
            </a:r>
          </a:p>
        </p:txBody>
      </p:sp>
      <p:grpSp>
        <p:nvGrpSpPr>
          <p:cNvPr id="11" name="组合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390781" y="419542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12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3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16" name="文本框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26979" y="2659559"/>
            <a:ext cx="4922837" cy="76944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dist"/>
            <a:r>
              <a:rPr lang="en-US" altLang="zh-CN" sz="4400" dirty="0">
                <a:solidFill>
                  <a:schemeClr val="accent1"/>
                </a:solidFill>
                <a:cs typeface="等线" panose="02010600030101010101" charset="-122"/>
              </a:rPr>
              <a:t>PART FIVE</a:t>
            </a:r>
            <a:endParaRPr lang="zh-CN" altLang="en-US" sz="4400" dirty="0">
              <a:solidFill>
                <a:schemeClr val="accent1"/>
              </a:solidFill>
              <a:cs typeface="等线" panose="02010600030101010101" charset="-122"/>
            </a:endParaRPr>
          </a:p>
        </p:txBody>
      </p:sp>
      <p:pic>
        <p:nvPicPr>
          <p:cNvPr id="4" name="图片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159171"/>
            <a:ext cx="12192000" cy="8139125"/>
          </a:xfrm>
          <a:prstGeom prst="rect">
            <a:avLst/>
          </a:prstGeom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5" name="矩形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734728" y="620352"/>
            <a:ext cx="2122310" cy="22736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Lorem ipsum dolor sit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amet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,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consectetur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adipiscing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elit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, sed do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eiusmod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tempor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incididunt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ut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magna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aliqua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.</a:t>
            </a:r>
          </a:p>
          <a:p>
            <a:pPr algn="r">
              <a:lnSpc>
                <a:spcPct val="150000"/>
              </a:lnSpc>
            </a:pP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</a:t>
            </a:r>
          </a:p>
          <a:p>
            <a:pPr algn="r">
              <a:lnSpc>
                <a:spcPct val="150000"/>
              </a:lnSpc>
            </a:pP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Ut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enim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ad minim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veniam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,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quis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nostrud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exercitation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ullamco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laboris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nisi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ut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</a:t>
            </a:r>
            <a:r>
              <a:rPr lang="en-US" altLang="zh-CN" sz="1050" b="0" i="0" dirty="0" err="1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aliquip</a:t>
            </a:r>
            <a:r>
              <a:rPr lang="en-US" altLang="zh-CN" sz="1050" b="0" i="0" dirty="0">
                <a:solidFill>
                  <a:schemeClr val="accent1"/>
                </a:solidFill>
                <a:effectLst/>
                <a:latin typeface="+mj-lt"/>
                <a:cs typeface="等线" panose="02010600030101010101" charset="-122"/>
              </a:rPr>
              <a:t> ex ea.</a:t>
            </a:r>
            <a:endParaRPr lang="en-US" altLang="zh-CN" sz="1050" dirty="0">
              <a:solidFill>
                <a:schemeClr val="accent1"/>
              </a:solidFill>
              <a:latin typeface="+mj-lt"/>
              <a:cs typeface="等线" panose="02010600030101010101" charset="-122"/>
            </a:endParaRPr>
          </a:p>
        </p:txBody>
      </p:sp>
      <p:sp>
        <p:nvSpPr>
          <p:cNvPr id="6" name="文本框 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338668"/>
            <a:ext cx="9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accent1"/>
                </a:solidFill>
                <a:cs typeface="等线" panose="02010600030101010101" charset="-122"/>
              </a:rPr>
              <a:t>WATER</a:t>
            </a:r>
          </a:p>
        </p:txBody>
      </p:sp>
      <p:sp>
        <p:nvSpPr>
          <p:cNvPr id="7" name="TextBox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886577"/>
            <a:ext cx="23027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accent1"/>
                </a:solidFill>
                <a:latin typeface="+mj-ea"/>
                <a:ea typeface="+mj-ea"/>
                <a:cs typeface="等线" panose="02010600030101010101" charset="-122"/>
              </a:rPr>
              <a:t>BUSINESS PRESENTATION TEMPLATE</a:t>
            </a:r>
          </a:p>
        </p:txBody>
      </p:sp>
      <p:grpSp>
        <p:nvGrpSpPr>
          <p:cNvPr id="8" name="组合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390781" y="419542"/>
            <a:ext cx="688468" cy="235211"/>
            <a:chOff x="4375901" y="3868502"/>
            <a:chExt cx="990347" cy="338346"/>
          </a:xfrm>
          <a:solidFill>
            <a:schemeClr val="accent1"/>
          </a:solidFill>
        </p:grpSpPr>
        <p:sp>
          <p:nvSpPr>
            <p:cNvPr id="9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0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11" name="文本框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5082810" y="2659559"/>
            <a:ext cx="4922837" cy="76944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dist"/>
            <a:r>
              <a:rPr lang="en-US" altLang="zh-CN" sz="4400" dirty="0">
                <a:solidFill>
                  <a:schemeClr val="accent1"/>
                </a:solidFill>
                <a:cs typeface="等线" panose="02010600030101010101" charset="-122"/>
              </a:rPr>
              <a:t>PART SIX</a:t>
            </a:r>
            <a:endParaRPr lang="zh-CN" altLang="en-US" sz="4400" dirty="0">
              <a:solidFill>
                <a:schemeClr val="accent1"/>
              </a:solidFill>
              <a:cs typeface="等线" panose="02010600030101010101" charset="-122"/>
            </a:endParaRPr>
          </a:p>
        </p:txBody>
      </p:sp>
      <p:pic>
        <p:nvPicPr>
          <p:cNvPr id="4" name="图片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386" y="71611"/>
            <a:ext cx="10058400" cy="6714778"/>
          </a:xfrm>
          <a:prstGeom prst="rect">
            <a:avLst/>
          </a:prstGeom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  <p:sp>
        <p:nvSpPr>
          <p:cNvPr id="12" name="TextBox 4"/>
          <p:cNvSpPr txBox="1"/>
          <p:nvPr/>
        </p:nvSpPr>
        <p:spPr>
          <a:xfrm>
            <a:off x="0" y="5"/>
            <a:ext cx="604867" cy="127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200000"/>
              </a:lnSpc>
            </a:pPr>
            <a:r>
              <a:rPr lang="zh-CN" altLang="en-US" sz="135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行业</a:t>
            </a:r>
            <a:r>
              <a:rPr lang="en-US" altLang="zh-CN" sz="135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sz="135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模板</a:t>
            </a:r>
            <a:r>
              <a:rPr lang="en-US" altLang="zh-CN" sz="135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.com/hangye/</a:t>
            </a:r>
          </a:p>
        </p:txBody>
      </p:sp>
    </p:spTree>
  </p:cSld>
  <p:clrMapOvr>
    <a:masterClrMapping/>
  </p:clrMapOvr>
  <p:transition/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4" name="图片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5876" y="708000"/>
            <a:ext cx="8676839" cy="5792477"/>
          </a:xfrm>
          <a:prstGeom prst="rect">
            <a:avLst/>
          </a:prstGeom>
        </p:spPr>
      </p:pic>
      <p:pic>
        <p:nvPicPr>
          <p:cNvPr id="6" name="Picture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91067" y="502357"/>
            <a:ext cx="1027289" cy="767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文本框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93181" y="2129222"/>
            <a:ext cx="587532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dirty="0">
                <a:solidFill>
                  <a:schemeClr val="bg1"/>
                </a:solidFill>
                <a:cs typeface="等线" panose="02010600030101010101" charset="-122"/>
              </a:rPr>
              <a:t>THANK YOU</a:t>
            </a:r>
            <a:endParaRPr lang="zh-CN" altLang="en-US" sz="80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9" name="文本框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338668"/>
            <a:ext cx="9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cs typeface="等线" panose="02010600030101010101" charset="-122"/>
              </a:rPr>
              <a:t>WATER</a:t>
            </a:r>
          </a:p>
        </p:txBody>
      </p:sp>
      <p:sp>
        <p:nvSpPr>
          <p:cNvPr id="10" name="TextBox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899635" y="3429001"/>
            <a:ext cx="54484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sz="12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BUSINESS PRESENTATION TEMPLATE</a:t>
            </a:r>
          </a:p>
        </p:txBody>
      </p:sp>
      <p:grpSp>
        <p:nvGrpSpPr>
          <p:cNvPr id="11" name="组合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390781" y="419542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12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3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  <p:sp>
        <p:nvSpPr>
          <p:cNvPr id="5" name="Rounded Rectangle 7">
            <a:extLst>
              <a:ext uri="{FF2B5EF4-FFF2-40B4-BE49-F238E27FC236}">
                <a16:creationId xmlns:a16="http://schemas.microsoft.com/office/drawing/2014/main" id="{D1BAE9C4-2536-C7EB-C3DC-033DB4509954}"/>
              </a:ext>
            </a:extLst>
          </p:cNvPr>
          <p:cNvSpPr/>
          <p:nvPr/>
        </p:nvSpPr>
        <p:spPr>
          <a:xfrm>
            <a:off x="9610388" y="537147"/>
            <a:ext cx="1684599" cy="413563"/>
          </a:xfrm>
          <a:prstGeom prst="roundRect">
            <a:avLst>
              <a:gd name="adj" fmla="val 50000"/>
            </a:avLst>
          </a:prstGeom>
          <a:solidFill>
            <a:schemeClr val="bg1">
              <a:alpha val="0"/>
            </a:schemeClr>
          </a:solidFill>
          <a:ln w="158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700" dirty="0"/>
              <a:t>LOGO</a:t>
            </a:r>
            <a:endParaRPr lang="ko-KR" altLang="en-US" sz="2700" dirty="0"/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F37DC90A-E46E-4127-6D88-CC891C64AA61}"/>
              </a:ext>
            </a:extLst>
          </p:cNvPr>
          <p:cNvGrpSpPr/>
          <p:nvPr/>
        </p:nvGrpSpPr>
        <p:grpSpPr>
          <a:xfrm>
            <a:off x="906017" y="4787386"/>
            <a:ext cx="3954993" cy="327543"/>
            <a:chOff x="4414802" y="4745227"/>
            <a:chExt cx="3954993" cy="327543"/>
          </a:xfrm>
        </p:grpSpPr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F1E9F3DF-80D5-5BC2-003C-4F9893717F1B}"/>
                </a:ext>
              </a:extLst>
            </p:cNvPr>
            <p:cNvGrpSpPr/>
            <p:nvPr/>
          </p:nvGrpSpPr>
          <p:grpSpPr>
            <a:xfrm>
              <a:off x="6916771" y="4765241"/>
              <a:ext cx="290407" cy="290407"/>
              <a:chOff x="2895100" y="5545226"/>
              <a:chExt cx="290407" cy="290407"/>
            </a:xfrm>
            <a:solidFill>
              <a:schemeClr val="bg1"/>
            </a:solidFill>
          </p:grpSpPr>
          <p:sp>
            <p:nvSpPr>
              <p:cNvPr id="23" name="Oval 15">
                <a:extLst>
                  <a:ext uri="{FF2B5EF4-FFF2-40B4-BE49-F238E27FC236}">
                    <a16:creationId xmlns:a16="http://schemas.microsoft.com/office/drawing/2014/main" id="{1C5F9467-A4CC-7F7A-C0DD-19441F669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95100" y="5545226"/>
                <a:ext cx="290407" cy="290407"/>
              </a:xfrm>
              <a:prstGeom prst="ellipse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800">
                  <a:solidFill>
                    <a:srgbClr val="36396E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4" name="Group 16">
                <a:extLst>
                  <a:ext uri="{FF2B5EF4-FFF2-40B4-BE49-F238E27FC236}">
                    <a16:creationId xmlns:a16="http://schemas.microsoft.com/office/drawing/2014/main" id="{DA74BA96-E31A-6661-7D5B-2D5AB353137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988289" y="5588481"/>
                <a:ext cx="104062" cy="190050"/>
                <a:chOff x="4982" y="3116"/>
                <a:chExt cx="215" cy="392"/>
              </a:xfrm>
              <a:grpFill/>
            </p:grpSpPr>
            <p:sp>
              <p:nvSpPr>
                <p:cNvPr id="25" name="Freeform 17">
                  <a:extLst>
                    <a:ext uri="{FF2B5EF4-FFF2-40B4-BE49-F238E27FC236}">
                      <a16:creationId xmlns:a16="http://schemas.microsoft.com/office/drawing/2014/main" id="{F4A7E05D-B5B1-CD1E-C05B-ABBDD9FFC8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15" y="3116"/>
                  <a:ext cx="149" cy="253"/>
                </a:xfrm>
                <a:custGeom>
                  <a:avLst/>
                  <a:gdLst>
                    <a:gd name="T0" fmla="*/ 31 w 63"/>
                    <a:gd name="T1" fmla="*/ 107 h 107"/>
                    <a:gd name="T2" fmla="*/ 63 w 63"/>
                    <a:gd name="T3" fmla="*/ 78 h 107"/>
                    <a:gd name="T4" fmla="*/ 63 w 63"/>
                    <a:gd name="T5" fmla="*/ 29 h 107"/>
                    <a:gd name="T6" fmla="*/ 31 w 63"/>
                    <a:gd name="T7" fmla="*/ 0 h 107"/>
                    <a:gd name="T8" fmla="*/ 0 w 63"/>
                    <a:gd name="T9" fmla="*/ 29 h 107"/>
                    <a:gd name="T10" fmla="*/ 0 w 63"/>
                    <a:gd name="T11" fmla="*/ 78 h 107"/>
                    <a:gd name="T12" fmla="*/ 31 w 63"/>
                    <a:gd name="T13" fmla="*/ 107 h 107"/>
                    <a:gd name="T14" fmla="*/ 10 w 63"/>
                    <a:gd name="T15" fmla="*/ 29 h 107"/>
                    <a:gd name="T16" fmla="*/ 31 w 63"/>
                    <a:gd name="T17" fmla="*/ 10 h 107"/>
                    <a:gd name="T18" fmla="*/ 53 w 63"/>
                    <a:gd name="T19" fmla="*/ 29 h 107"/>
                    <a:gd name="T20" fmla="*/ 53 w 63"/>
                    <a:gd name="T21" fmla="*/ 78 h 107"/>
                    <a:gd name="T22" fmla="*/ 31 w 63"/>
                    <a:gd name="T23" fmla="*/ 97 h 107"/>
                    <a:gd name="T24" fmla="*/ 10 w 63"/>
                    <a:gd name="T25" fmla="*/ 78 h 107"/>
                    <a:gd name="T26" fmla="*/ 10 w 63"/>
                    <a:gd name="T27" fmla="*/ 2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3" h="107">
                      <a:moveTo>
                        <a:pt x="31" y="107"/>
                      </a:moveTo>
                      <a:cubicBezTo>
                        <a:pt x="49" y="107"/>
                        <a:pt x="63" y="94"/>
                        <a:pt x="63" y="78"/>
                      </a:cubicBezTo>
                      <a:cubicBezTo>
                        <a:pt x="63" y="29"/>
                        <a:pt x="63" y="29"/>
                        <a:pt x="63" y="29"/>
                      </a:cubicBezTo>
                      <a:cubicBezTo>
                        <a:pt x="63" y="13"/>
                        <a:pt x="49" y="0"/>
                        <a:pt x="31" y="0"/>
                      </a:cubicBezTo>
                      <a:cubicBezTo>
                        <a:pt x="14" y="0"/>
                        <a:pt x="0" y="13"/>
                        <a:pt x="0" y="29"/>
                      </a:cubicBezTo>
                      <a:cubicBezTo>
                        <a:pt x="0" y="78"/>
                        <a:pt x="0" y="78"/>
                        <a:pt x="0" y="78"/>
                      </a:cubicBezTo>
                      <a:cubicBezTo>
                        <a:pt x="0" y="94"/>
                        <a:pt x="14" y="107"/>
                        <a:pt x="31" y="107"/>
                      </a:cubicBezTo>
                      <a:close/>
                      <a:moveTo>
                        <a:pt x="10" y="29"/>
                      </a:moveTo>
                      <a:cubicBezTo>
                        <a:pt x="10" y="18"/>
                        <a:pt x="19" y="10"/>
                        <a:pt x="31" y="10"/>
                      </a:cubicBezTo>
                      <a:cubicBezTo>
                        <a:pt x="43" y="10"/>
                        <a:pt x="53" y="18"/>
                        <a:pt x="53" y="29"/>
                      </a:cubicBezTo>
                      <a:cubicBezTo>
                        <a:pt x="53" y="78"/>
                        <a:pt x="53" y="78"/>
                        <a:pt x="53" y="78"/>
                      </a:cubicBezTo>
                      <a:cubicBezTo>
                        <a:pt x="53" y="88"/>
                        <a:pt x="43" y="97"/>
                        <a:pt x="31" y="97"/>
                      </a:cubicBezTo>
                      <a:cubicBezTo>
                        <a:pt x="19" y="97"/>
                        <a:pt x="10" y="88"/>
                        <a:pt x="10" y="78"/>
                      </a:cubicBezTo>
                      <a:lnTo>
                        <a:pt x="10" y="29"/>
                      </a:ln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6" name="Freeform 18">
                  <a:extLst>
                    <a:ext uri="{FF2B5EF4-FFF2-40B4-BE49-F238E27FC236}">
                      <a16:creationId xmlns:a16="http://schemas.microsoft.com/office/drawing/2014/main" id="{F3991ED1-FF5E-9997-7CFE-A3586BA191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982" y="3286"/>
                  <a:ext cx="215" cy="222"/>
                </a:xfrm>
                <a:custGeom>
                  <a:avLst/>
                  <a:gdLst>
                    <a:gd name="T0" fmla="*/ 86 w 91"/>
                    <a:gd name="T1" fmla="*/ 0 h 94"/>
                    <a:gd name="T2" fmla="*/ 81 w 91"/>
                    <a:gd name="T3" fmla="*/ 5 h 94"/>
                    <a:gd name="T4" fmla="*/ 81 w 91"/>
                    <a:gd name="T5" fmla="*/ 28 h 94"/>
                    <a:gd name="T6" fmla="*/ 45 w 91"/>
                    <a:gd name="T7" fmla="*/ 59 h 94"/>
                    <a:gd name="T8" fmla="*/ 10 w 91"/>
                    <a:gd name="T9" fmla="*/ 28 h 94"/>
                    <a:gd name="T10" fmla="*/ 10 w 91"/>
                    <a:gd name="T11" fmla="*/ 5 h 94"/>
                    <a:gd name="T12" fmla="*/ 5 w 91"/>
                    <a:gd name="T13" fmla="*/ 0 h 94"/>
                    <a:gd name="T14" fmla="*/ 0 w 91"/>
                    <a:gd name="T15" fmla="*/ 5 h 94"/>
                    <a:gd name="T16" fmla="*/ 0 w 91"/>
                    <a:gd name="T17" fmla="*/ 28 h 94"/>
                    <a:gd name="T18" fmla="*/ 40 w 91"/>
                    <a:gd name="T19" fmla="*/ 69 h 94"/>
                    <a:gd name="T20" fmla="*/ 40 w 91"/>
                    <a:gd name="T21" fmla="*/ 84 h 94"/>
                    <a:gd name="T22" fmla="*/ 20 w 91"/>
                    <a:gd name="T23" fmla="*/ 84 h 94"/>
                    <a:gd name="T24" fmla="*/ 15 w 91"/>
                    <a:gd name="T25" fmla="*/ 89 h 94"/>
                    <a:gd name="T26" fmla="*/ 20 w 91"/>
                    <a:gd name="T27" fmla="*/ 94 h 94"/>
                    <a:gd name="T28" fmla="*/ 70 w 91"/>
                    <a:gd name="T29" fmla="*/ 94 h 94"/>
                    <a:gd name="T30" fmla="*/ 75 w 91"/>
                    <a:gd name="T31" fmla="*/ 89 h 94"/>
                    <a:gd name="T32" fmla="*/ 70 w 91"/>
                    <a:gd name="T33" fmla="*/ 84 h 94"/>
                    <a:gd name="T34" fmla="*/ 50 w 91"/>
                    <a:gd name="T35" fmla="*/ 84 h 94"/>
                    <a:gd name="T36" fmla="*/ 50 w 91"/>
                    <a:gd name="T37" fmla="*/ 69 h 94"/>
                    <a:gd name="T38" fmla="*/ 91 w 91"/>
                    <a:gd name="T39" fmla="*/ 28 h 94"/>
                    <a:gd name="T40" fmla="*/ 91 w 91"/>
                    <a:gd name="T41" fmla="*/ 5 h 94"/>
                    <a:gd name="T42" fmla="*/ 86 w 91"/>
                    <a:gd name="T43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91" h="94">
                      <a:moveTo>
                        <a:pt x="86" y="0"/>
                      </a:moveTo>
                      <a:cubicBezTo>
                        <a:pt x="83" y="0"/>
                        <a:pt x="81" y="3"/>
                        <a:pt x="81" y="5"/>
                      </a:cubicBezTo>
                      <a:cubicBezTo>
                        <a:pt x="81" y="28"/>
                        <a:pt x="81" y="28"/>
                        <a:pt x="81" y="28"/>
                      </a:cubicBezTo>
                      <a:cubicBezTo>
                        <a:pt x="81" y="45"/>
                        <a:pt x="65" y="59"/>
                        <a:pt x="45" y="59"/>
                      </a:cubicBezTo>
                      <a:cubicBezTo>
                        <a:pt x="26" y="59"/>
                        <a:pt x="10" y="45"/>
                        <a:pt x="10" y="28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2"/>
                        <a:pt x="8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49"/>
                        <a:pt x="18" y="67"/>
                        <a:pt x="40" y="69"/>
                      </a:cubicBezTo>
                      <a:cubicBezTo>
                        <a:pt x="40" y="84"/>
                        <a:pt x="40" y="84"/>
                        <a:pt x="40" y="84"/>
                      </a:cubicBezTo>
                      <a:cubicBezTo>
                        <a:pt x="20" y="84"/>
                        <a:pt x="20" y="84"/>
                        <a:pt x="20" y="84"/>
                      </a:cubicBezTo>
                      <a:cubicBezTo>
                        <a:pt x="18" y="84"/>
                        <a:pt x="15" y="86"/>
                        <a:pt x="15" y="89"/>
                      </a:cubicBezTo>
                      <a:cubicBezTo>
                        <a:pt x="15" y="92"/>
                        <a:pt x="18" y="94"/>
                        <a:pt x="20" y="94"/>
                      </a:cubicBezTo>
                      <a:cubicBezTo>
                        <a:pt x="70" y="94"/>
                        <a:pt x="70" y="94"/>
                        <a:pt x="70" y="94"/>
                      </a:cubicBezTo>
                      <a:cubicBezTo>
                        <a:pt x="73" y="94"/>
                        <a:pt x="75" y="92"/>
                        <a:pt x="75" y="89"/>
                      </a:cubicBezTo>
                      <a:cubicBezTo>
                        <a:pt x="75" y="86"/>
                        <a:pt x="73" y="84"/>
                        <a:pt x="70" y="84"/>
                      </a:cubicBezTo>
                      <a:cubicBezTo>
                        <a:pt x="50" y="84"/>
                        <a:pt x="50" y="84"/>
                        <a:pt x="50" y="84"/>
                      </a:cubicBezTo>
                      <a:cubicBezTo>
                        <a:pt x="50" y="69"/>
                        <a:pt x="50" y="69"/>
                        <a:pt x="50" y="69"/>
                      </a:cubicBezTo>
                      <a:cubicBezTo>
                        <a:pt x="73" y="67"/>
                        <a:pt x="91" y="49"/>
                        <a:pt x="91" y="28"/>
                      </a:cubicBezTo>
                      <a:cubicBezTo>
                        <a:pt x="91" y="5"/>
                        <a:pt x="91" y="5"/>
                        <a:pt x="91" y="5"/>
                      </a:cubicBezTo>
                      <a:cubicBezTo>
                        <a:pt x="91" y="3"/>
                        <a:pt x="88" y="0"/>
                        <a:pt x="86" y="0"/>
                      </a:cubicBez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23CE0211-7693-F736-FAB5-C0C23A6FBCC5}"/>
                </a:ext>
              </a:extLst>
            </p:cNvPr>
            <p:cNvGrpSpPr/>
            <p:nvPr/>
          </p:nvGrpSpPr>
          <p:grpSpPr>
            <a:xfrm>
              <a:off x="4414802" y="4745227"/>
              <a:ext cx="290407" cy="290407"/>
              <a:chOff x="732769" y="5535598"/>
              <a:chExt cx="290407" cy="290407"/>
            </a:xfrm>
            <a:solidFill>
              <a:schemeClr val="bg1"/>
            </a:solidFill>
          </p:grpSpPr>
          <p:sp>
            <p:nvSpPr>
              <p:cNvPr id="19" name="Oval 10">
                <a:extLst>
                  <a:ext uri="{FF2B5EF4-FFF2-40B4-BE49-F238E27FC236}">
                    <a16:creationId xmlns:a16="http://schemas.microsoft.com/office/drawing/2014/main" id="{DF5AEBBA-4CE1-737E-6F02-5A9D053FA1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769" y="5535598"/>
                <a:ext cx="290407" cy="290407"/>
              </a:xfrm>
              <a:prstGeom prst="ellipse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800" dirty="0">
                  <a:solidFill>
                    <a:srgbClr val="36396E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25A5AF34-6BDA-5FE7-BE0F-82CF64B74116}"/>
                  </a:ext>
                </a:extLst>
              </p:cNvPr>
              <p:cNvGrpSpPr/>
              <p:nvPr/>
            </p:nvGrpSpPr>
            <p:grpSpPr>
              <a:xfrm>
                <a:off x="811795" y="5598991"/>
                <a:ext cx="132841" cy="151011"/>
                <a:chOff x="860980" y="3583766"/>
                <a:chExt cx="100336" cy="114060"/>
              </a:xfrm>
              <a:grpFill/>
            </p:grpSpPr>
            <p:sp>
              <p:nvSpPr>
                <p:cNvPr id="21" name="Freeform 12">
                  <a:extLst>
                    <a:ext uri="{FF2B5EF4-FFF2-40B4-BE49-F238E27FC236}">
                      <a16:creationId xmlns:a16="http://schemas.microsoft.com/office/drawing/2014/main" id="{1D1B7B89-F6E8-87B6-F74B-BC3AA34447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4050" y="3583766"/>
                  <a:ext cx="53830" cy="53740"/>
                </a:xfrm>
                <a:custGeom>
                  <a:avLst/>
                  <a:gdLst>
                    <a:gd name="T0" fmla="*/ 31 w 62"/>
                    <a:gd name="T1" fmla="*/ 62 h 62"/>
                    <a:gd name="T2" fmla="*/ 0 w 62"/>
                    <a:gd name="T3" fmla="*/ 31 h 62"/>
                    <a:gd name="T4" fmla="*/ 31 w 62"/>
                    <a:gd name="T5" fmla="*/ 0 h 62"/>
                    <a:gd name="T6" fmla="*/ 62 w 62"/>
                    <a:gd name="T7" fmla="*/ 31 h 62"/>
                    <a:gd name="T8" fmla="*/ 31 w 62"/>
                    <a:gd name="T9" fmla="*/ 62 h 62"/>
                    <a:gd name="T10" fmla="*/ 31 w 62"/>
                    <a:gd name="T11" fmla="*/ 11 h 62"/>
                    <a:gd name="T12" fmla="*/ 11 w 62"/>
                    <a:gd name="T13" fmla="*/ 31 h 62"/>
                    <a:gd name="T14" fmla="*/ 31 w 62"/>
                    <a:gd name="T15" fmla="*/ 51 h 62"/>
                    <a:gd name="T16" fmla="*/ 51 w 62"/>
                    <a:gd name="T17" fmla="*/ 31 h 62"/>
                    <a:gd name="T18" fmla="*/ 31 w 62"/>
                    <a:gd name="T19" fmla="*/ 11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62">
                      <a:moveTo>
                        <a:pt x="31" y="62"/>
                      </a:moveTo>
                      <a:cubicBezTo>
                        <a:pt x="14" y="62"/>
                        <a:pt x="0" y="48"/>
                        <a:pt x="0" y="31"/>
                      </a:cubicBezTo>
                      <a:cubicBezTo>
                        <a:pt x="0" y="14"/>
                        <a:pt x="14" y="0"/>
                        <a:pt x="31" y="0"/>
                      </a:cubicBezTo>
                      <a:cubicBezTo>
                        <a:pt x="48" y="0"/>
                        <a:pt x="62" y="14"/>
                        <a:pt x="62" y="31"/>
                      </a:cubicBezTo>
                      <a:cubicBezTo>
                        <a:pt x="62" y="48"/>
                        <a:pt x="48" y="62"/>
                        <a:pt x="31" y="62"/>
                      </a:cubicBezTo>
                      <a:close/>
                      <a:moveTo>
                        <a:pt x="31" y="11"/>
                      </a:moveTo>
                      <a:cubicBezTo>
                        <a:pt x="20" y="11"/>
                        <a:pt x="11" y="20"/>
                        <a:pt x="11" y="31"/>
                      </a:cubicBezTo>
                      <a:cubicBezTo>
                        <a:pt x="11" y="42"/>
                        <a:pt x="20" y="51"/>
                        <a:pt x="31" y="51"/>
                      </a:cubicBezTo>
                      <a:cubicBezTo>
                        <a:pt x="42" y="51"/>
                        <a:pt x="51" y="42"/>
                        <a:pt x="51" y="31"/>
                      </a:cubicBezTo>
                      <a:cubicBezTo>
                        <a:pt x="51" y="20"/>
                        <a:pt x="42" y="11"/>
                        <a:pt x="31" y="11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Freeform 13">
                  <a:extLst>
                    <a:ext uri="{FF2B5EF4-FFF2-40B4-BE49-F238E27FC236}">
                      <a16:creationId xmlns:a16="http://schemas.microsoft.com/office/drawing/2014/main" id="{4305E2EB-E96A-5FAC-FF0B-4CB65440F9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980" y="3643355"/>
                  <a:ext cx="100336" cy="54471"/>
                </a:xfrm>
                <a:custGeom>
                  <a:avLst/>
                  <a:gdLst>
                    <a:gd name="T0" fmla="*/ 111 w 116"/>
                    <a:gd name="T1" fmla="*/ 63 h 63"/>
                    <a:gd name="T2" fmla="*/ 105 w 116"/>
                    <a:gd name="T3" fmla="*/ 58 h 63"/>
                    <a:gd name="T4" fmla="*/ 58 w 116"/>
                    <a:gd name="T5" fmla="*/ 11 h 63"/>
                    <a:gd name="T6" fmla="*/ 11 w 116"/>
                    <a:gd name="T7" fmla="*/ 58 h 63"/>
                    <a:gd name="T8" fmla="*/ 6 w 116"/>
                    <a:gd name="T9" fmla="*/ 63 h 63"/>
                    <a:gd name="T10" fmla="*/ 0 w 116"/>
                    <a:gd name="T11" fmla="*/ 58 h 63"/>
                    <a:gd name="T12" fmla="*/ 58 w 116"/>
                    <a:gd name="T13" fmla="*/ 0 h 63"/>
                    <a:gd name="T14" fmla="*/ 116 w 116"/>
                    <a:gd name="T15" fmla="*/ 58 h 63"/>
                    <a:gd name="T16" fmla="*/ 111 w 116"/>
                    <a:gd name="T1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63">
                      <a:moveTo>
                        <a:pt x="111" y="63"/>
                      </a:moveTo>
                      <a:cubicBezTo>
                        <a:pt x="108" y="63"/>
                        <a:pt x="105" y="61"/>
                        <a:pt x="105" y="58"/>
                      </a:cubicBezTo>
                      <a:cubicBezTo>
                        <a:pt x="105" y="32"/>
                        <a:pt x="84" y="11"/>
                        <a:pt x="58" y="11"/>
                      </a:cubicBezTo>
                      <a:cubicBezTo>
                        <a:pt x="32" y="11"/>
                        <a:pt x="11" y="32"/>
                        <a:pt x="11" y="58"/>
                      </a:cubicBezTo>
                      <a:cubicBezTo>
                        <a:pt x="11" y="61"/>
                        <a:pt x="9" y="63"/>
                        <a:pt x="6" y="63"/>
                      </a:cubicBezTo>
                      <a:cubicBezTo>
                        <a:pt x="3" y="63"/>
                        <a:pt x="0" y="61"/>
                        <a:pt x="0" y="58"/>
                      </a:cubicBezTo>
                      <a:cubicBezTo>
                        <a:pt x="0" y="26"/>
                        <a:pt x="26" y="0"/>
                        <a:pt x="58" y="0"/>
                      </a:cubicBezTo>
                      <a:cubicBezTo>
                        <a:pt x="90" y="0"/>
                        <a:pt x="116" y="26"/>
                        <a:pt x="116" y="58"/>
                      </a:cubicBezTo>
                      <a:cubicBezTo>
                        <a:pt x="116" y="61"/>
                        <a:pt x="114" y="63"/>
                        <a:pt x="111" y="63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17" name="Text Box 20">
              <a:extLst>
                <a:ext uri="{FF2B5EF4-FFF2-40B4-BE49-F238E27FC236}">
                  <a16:creationId xmlns:a16="http://schemas.microsoft.com/office/drawing/2014/main" id="{73990F16-CCC7-652D-C356-F68441FA3C1C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232945" y="4764993"/>
              <a:ext cx="113685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400" dirty="0">
                  <a:solidFill>
                    <a:schemeClr val="bg1"/>
                  </a:solidFill>
                  <a:cs typeface="+mn-ea"/>
                  <a:sym typeface="+mn-lt"/>
                </a:rPr>
                <a:t>XX.XX.20XX</a:t>
              </a:r>
              <a:endParaRPr lang="zh-CN" altLang="en-US" sz="14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A1B6BC0C-67DA-B757-3AD8-F4AAC67DCC86}"/>
                </a:ext>
              </a:extLst>
            </p:cNvPr>
            <p:cNvSpPr/>
            <p:nvPr/>
          </p:nvSpPr>
          <p:spPr>
            <a:xfrm>
              <a:off x="4705028" y="4751931"/>
              <a:ext cx="218842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400" dirty="0">
                  <a:solidFill>
                    <a:schemeClr val="bg1"/>
                  </a:solidFill>
                  <a:cs typeface="+mn-ea"/>
                  <a:sym typeface="+mn-lt"/>
                </a:rPr>
                <a:t>Report </a:t>
              </a:r>
              <a:r>
                <a:rPr lang="zh-CN" altLang="en-US" sz="1400" dirty="0">
                  <a:solidFill>
                    <a:schemeClr val="bg1"/>
                  </a:solidFill>
                  <a:cs typeface="+mn-ea"/>
                  <a:sym typeface="+mn-lt"/>
                </a:rPr>
                <a:t>：</a:t>
              </a:r>
              <a:r>
                <a:rPr lang="en-US" altLang="zh-CN" sz="1400" dirty="0">
                  <a:solidFill>
                    <a:schemeClr val="bg1"/>
                  </a:solidFill>
                  <a:cs typeface="+mn-ea"/>
                  <a:sym typeface="+mn-lt"/>
                </a:rPr>
                <a:t>freeppt7.com</a:t>
              </a:r>
              <a:endParaRPr lang="zh-CN" altLang="en-US" sz="14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6E43E27-F1B0-02E8-1946-73FF63AFFE33}"/>
              </a:ext>
            </a:extLst>
          </p:cNvPr>
          <p:cNvGrpSpPr/>
          <p:nvPr/>
        </p:nvGrpSpPr>
        <p:grpSpPr>
          <a:xfrm>
            <a:off x="1659925" y="1576395"/>
            <a:ext cx="8872151" cy="3560070"/>
            <a:chOff x="1659925" y="1622451"/>
            <a:chExt cx="8872151" cy="3560070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D85D155-BED2-ACEB-3769-8DCFF91CDB3A}"/>
                </a:ext>
              </a:extLst>
            </p:cNvPr>
            <p:cNvSpPr txBox="1"/>
            <p:nvPr/>
          </p:nvSpPr>
          <p:spPr>
            <a:xfrm>
              <a:off x="1659925" y="1622451"/>
              <a:ext cx="8872151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We respect your valuable time with </a:t>
              </a:r>
              <a:r>
                <a:rPr kumimoji="0" lang="en-US" altLang="zh-CN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freeppt7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!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If you have any questions, please reach us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45DEF97-E3F3-DD1E-C544-B2026124D939}"/>
                </a:ext>
              </a:extLst>
            </p:cNvPr>
            <p:cNvGrpSpPr/>
            <p:nvPr/>
          </p:nvGrpSpPr>
          <p:grpSpPr>
            <a:xfrm>
              <a:off x="4744357" y="2961726"/>
              <a:ext cx="2878228" cy="444237"/>
              <a:chOff x="3649099" y="2657323"/>
              <a:chExt cx="4767227" cy="735794"/>
            </a:xfrm>
          </p:grpSpPr>
          <p:pic>
            <p:nvPicPr>
              <p:cNvPr id="8" name="Picture 4" descr="Facebook icon circle Logo PNG Vector (EPS) Free Download">
                <a:hlinkClick r:id="rId2"/>
                <a:extLst>
                  <a:ext uri="{FF2B5EF4-FFF2-40B4-BE49-F238E27FC236}">
                    <a16:creationId xmlns:a16="http://schemas.microsoft.com/office/drawing/2014/main" id="{602876B6-B1F8-A41A-F81C-A10A3E7EDB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49099" y="2657323"/>
                <a:ext cx="730592" cy="730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" name="Picture 6" descr="Instagram Logo Icon Png #96303 - Free Icons Library">
                <a:hlinkClick r:id="rId4"/>
                <a:extLst>
                  <a:ext uri="{FF2B5EF4-FFF2-40B4-BE49-F238E27FC236}">
                    <a16:creationId xmlns:a16="http://schemas.microsoft.com/office/drawing/2014/main" id="{6041D0AE-538D-F0DF-C0B2-6B86D00F12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00569" y="2657323"/>
                <a:ext cx="730592" cy="7211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" name="Picture 8" descr="Youtube PNG images free download">
                <a:hlinkClick r:id="rId6"/>
                <a:extLst>
                  <a:ext uri="{FF2B5EF4-FFF2-40B4-BE49-F238E27FC236}">
                    <a16:creationId xmlns:a16="http://schemas.microsoft.com/office/drawing/2014/main" id="{6D36331A-0349-69CC-F35A-C6E152B11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77912" y="2671927"/>
                <a:ext cx="1019843" cy="7211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10" descr="Download Twitter Logo Png Transparent Background - Logo Twitter Png PNG  Image with No Background - PNGkey.com">
                <a:hlinkClick r:id="rId8"/>
                <a:extLst>
                  <a:ext uri="{FF2B5EF4-FFF2-40B4-BE49-F238E27FC236}">
                    <a16:creationId xmlns:a16="http://schemas.microsoft.com/office/drawing/2014/main" id="{DEFC2ED4-7A85-4B63-AA58-3742E8C4C6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47455" y="2671928"/>
                <a:ext cx="715988" cy="7159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" name="Picture 12" descr="LinkedIn Logo – Free PNG format download (2022)">
                <a:hlinkClick r:id="rId10"/>
                <a:extLst>
                  <a:ext uri="{FF2B5EF4-FFF2-40B4-BE49-F238E27FC236}">
                    <a16:creationId xmlns:a16="http://schemas.microsoft.com/office/drawing/2014/main" id="{6305F8BE-4A1B-D495-8890-5153C8455B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22895" y="2663501"/>
                <a:ext cx="1293431" cy="7275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923B166-2FB1-3537-5651-CEDA59A06144}"/>
                </a:ext>
              </a:extLst>
            </p:cNvPr>
            <p:cNvSpPr/>
            <p:nvPr/>
          </p:nvSpPr>
          <p:spPr>
            <a:xfrm>
              <a:off x="2668859" y="4659301"/>
              <a:ext cx="685428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CREDIT: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 Freeppt7.com created this PowerPoint template.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Let this slide be kept for attribution.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CD92F99-F9BB-4F0B-8C48-7B2315895202}"/>
                </a:ext>
              </a:extLst>
            </p:cNvPr>
            <p:cNvSpPr/>
            <p:nvPr/>
          </p:nvSpPr>
          <p:spPr>
            <a:xfrm>
              <a:off x="2129246" y="4098910"/>
              <a:ext cx="8255725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Do you have a design request, please visit our </a:t>
              </a:r>
              <a:r>
                <a:rPr kumimoji="0" lang="en-US" b="1" i="0" u="sng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design</a:t>
              </a: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MS Reference Sans Serif" panose="020B0604030504040204" pitchFamily="34" charset="0"/>
                  <a:cs typeface="Arial" panose="020B0604020202020204" pitchFamily="34" charset="0"/>
                </a:rPr>
                <a:t> page.</a:t>
              </a:r>
            </a:p>
          </p:txBody>
        </p:sp>
      </p:grpSp>
      <p:sp>
        <p:nvSpPr>
          <p:cNvPr id="13" name="TextBox 3">
            <a:hlinkClick r:id="rId13"/>
            <a:extLst>
              <a:ext uri="{FF2B5EF4-FFF2-40B4-BE49-F238E27FC236}">
                <a16:creationId xmlns:a16="http://schemas.microsoft.com/office/drawing/2014/main" id="{BD3C2092-DA25-3AA4-C25B-983997217607}"/>
              </a:ext>
            </a:extLst>
          </p:cNvPr>
          <p:cNvSpPr txBox="1"/>
          <p:nvPr/>
        </p:nvSpPr>
        <p:spPr>
          <a:xfrm>
            <a:off x="3672301" y="5669848"/>
            <a:ext cx="51696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2400" dirty="0">
                <a:cs typeface="Arial" panose="020B0604020202020204" pitchFamily="34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reeppt7.com</a:t>
            </a:r>
            <a:endParaRPr lang="ko-KR" altLang="en-US" sz="24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9658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占位符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4" name="图片 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281125"/>
            <a:ext cx="12192000" cy="8139125"/>
          </a:xfrm>
          <a:prstGeom prst="rect">
            <a:avLst/>
          </a:prstGeom>
        </p:spPr>
      </p:pic>
      <p:sp>
        <p:nvSpPr>
          <p:cNvPr id="8" name="文本框 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703685" y="2460136"/>
            <a:ext cx="604364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9600" dirty="0">
                <a:solidFill>
                  <a:schemeClr val="bg1"/>
                </a:solidFill>
                <a:cs typeface="等线" panose="02010600030101010101" charset="-122"/>
              </a:rPr>
              <a:t>PART ONE</a:t>
            </a:r>
            <a:endParaRPr lang="zh-CN" altLang="en-US" sz="96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9" name="文本框 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334963" y="338668"/>
            <a:ext cx="9380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cs typeface="等线" panose="02010600030101010101" charset="-122"/>
              </a:rPr>
              <a:t>WATER</a:t>
            </a:r>
          </a:p>
        </p:txBody>
      </p:sp>
      <p:pic>
        <p:nvPicPr>
          <p:cNvPr id="5" name="图片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3600" y="225518"/>
            <a:ext cx="10058400" cy="6714778"/>
          </a:xfrm>
          <a:prstGeom prst="rect">
            <a:avLst/>
          </a:prstGeom>
        </p:spPr>
      </p:pic>
      <p:sp>
        <p:nvSpPr>
          <p:cNvPr id="10" name="TextBox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840181" y="2302743"/>
            <a:ext cx="59990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sz="1600" dirty="0">
                <a:solidFill>
                  <a:schemeClr val="bg1"/>
                </a:solidFill>
                <a:latin typeface="+mj-ea"/>
                <a:ea typeface="+mj-ea"/>
                <a:cs typeface="等线" panose="02010600030101010101" charset="-122"/>
              </a:rPr>
              <a:t>BUSINESS PRESENTATION TEMPLATE</a:t>
            </a:r>
          </a:p>
        </p:txBody>
      </p:sp>
      <p:grpSp>
        <p:nvGrpSpPr>
          <p:cNvPr id="11" name="组合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390781" y="419542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12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3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49000">
              <a:schemeClr val="bg1"/>
            </a:gs>
            <a:gs pos="65000">
              <a:schemeClr val="accent1">
                <a:lumMod val="5000"/>
                <a:lumOff val="95000"/>
              </a:schemeClr>
            </a:gs>
            <a:gs pos="87000">
              <a:schemeClr val="accent1">
                <a:lumMod val="45000"/>
                <a:lumOff val="55000"/>
              </a:schemeClr>
            </a:gs>
            <a:gs pos="100000">
              <a:schemeClr val="tx2">
                <a:lumMod val="40000"/>
                <a:lumOff val="60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633920" y="128587"/>
            <a:ext cx="6510080" cy="6856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2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4973291" y="2564878"/>
            <a:ext cx="224542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 dirty="0">
                <a:solidFill>
                  <a:schemeClr val="accent3">
                    <a:lumMod val="50000"/>
                  </a:schemeClr>
                </a:solidFill>
                <a:latin typeface="+mj-lt"/>
                <a:cs typeface="等线" panose="02010600030101010101" charset="-122"/>
              </a:rPr>
              <a:t>Welcome</a:t>
            </a:r>
          </a:p>
        </p:txBody>
      </p:sp>
      <p:sp>
        <p:nvSpPr>
          <p:cNvPr id="6" name="Rectangle: Rounded Corners 2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419727" y="4313475"/>
            <a:ext cx="1352548" cy="30110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114300" dist="38100" dir="2700000" algn="tl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solidFill>
                  <a:schemeClr val="bg1"/>
                </a:solidFill>
                <a:cs typeface="等线" panose="02010600030101010101" charset="-122"/>
              </a:rPr>
              <a:t>Enter</a:t>
            </a:r>
          </a:p>
        </p:txBody>
      </p:sp>
      <p:sp>
        <p:nvSpPr>
          <p:cNvPr id="8" name="TextBox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flipH="1">
            <a:off x="3890122" y="3223777"/>
            <a:ext cx="441175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25000"/>
              </a:lnSpc>
            </a:pPr>
            <a:r>
              <a:rPr lang="en-US" sz="1200" dirty="0">
                <a:solidFill>
                  <a:schemeClr val="accent3">
                    <a:lumMod val="50000"/>
                  </a:schemeClr>
                </a:solidFill>
                <a:cs typeface="+mn-ea"/>
                <a:sym typeface="+mn-lt"/>
              </a:rPr>
              <a:t>This is a sample text. insert your desired text here. Again. this is a dummy text. enter your own text here. This is a sample text. insert your desired text here. Again. this is a dummy text. enter your own text here. .</a:t>
            </a:r>
          </a:p>
        </p:txBody>
      </p:sp>
      <p:grpSp>
        <p:nvGrpSpPr>
          <p:cNvPr id="10" name="组合 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751766" y="2098355"/>
            <a:ext cx="688468" cy="235211"/>
            <a:chOff x="4375901" y="3868502"/>
            <a:chExt cx="990347" cy="338346"/>
          </a:xfrm>
          <a:solidFill>
            <a:schemeClr val="accent1"/>
          </a:solidFill>
        </p:grpSpPr>
        <p:sp>
          <p:nvSpPr>
            <p:cNvPr id="11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12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5823" cy="6875586"/>
          </a:xfrm>
          <a:prstGeom prst="rect">
            <a:avLst/>
          </a:prstGeom>
        </p:spPr>
      </p:pic>
      <p:sp>
        <p:nvSpPr>
          <p:cNvPr id="3" name="Bogen 2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16200000">
            <a:off x="1232230" y="4060843"/>
            <a:ext cx="682072" cy="682072"/>
          </a:xfrm>
          <a:prstGeom prst="arc">
            <a:avLst>
              <a:gd name="adj1" fmla="val 1060776"/>
              <a:gd name="adj2" fmla="val 15880060"/>
            </a:avLst>
          </a:prstGeom>
          <a:ln w="3175">
            <a:solidFill>
              <a:schemeClr val="bg2"/>
            </a:solidFill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4" name="Bogen 3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16200000">
            <a:off x="4730311" y="4042122"/>
            <a:ext cx="682072" cy="682072"/>
          </a:xfrm>
          <a:prstGeom prst="arc">
            <a:avLst>
              <a:gd name="adj1" fmla="val 5625087"/>
              <a:gd name="adj2" fmla="val 20059528"/>
            </a:avLst>
          </a:prstGeom>
          <a:ln w="3175">
            <a:solidFill>
              <a:schemeClr val="bg2"/>
            </a:solidFill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5" name="Bogen 3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16200000">
            <a:off x="8244866" y="4061820"/>
            <a:ext cx="682072" cy="682072"/>
          </a:xfrm>
          <a:prstGeom prst="arc">
            <a:avLst>
              <a:gd name="adj1" fmla="val 15731147"/>
              <a:gd name="adj2" fmla="val 9180569"/>
            </a:avLst>
          </a:prstGeom>
          <a:ln w="3175">
            <a:solidFill>
              <a:schemeClr val="bg2"/>
            </a:solidFill>
            <a:round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 sz="10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6" name="Freeform 6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8447296" y="4264211"/>
            <a:ext cx="277211" cy="277284"/>
          </a:xfrm>
          <a:custGeom>
            <a:avLst/>
            <a:gdLst>
              <a:gd name="T0" fmla="*/ 408 w 462"/>
              <a:gd name="T1" fmla="*/ 54 h 462"/>
              <a:gd name="T2" fmla="*/ 408 w 462"/>
              <a:gd name="T3" fmla="*/ 54 h 462"/>
              <a:gd name="T4" fmla="*/ 292 w 462"/>
              <a:gd name="T5" fmla="*/ 19 h 462"/>
              <a:gd name="T6" fmla="*/ 230 w 462"/>
              <a:gd name="T7" fmla="*/ 80 h 462"/>
              <a:gd name="T8" fmla="*/ 213 w 462"/>
              <a:gd name="T9" fmla="*/ 160 h 462"/>
              <a:gd name="T10" fmla="*/ 8 w 462"/>
              <a:gd name="T11" fmla="*/ 363 h 462"/>
              <a:gd name="T12" fmla="*/ 35 w 462"/>
              <a:gd name="T13" fmla="*/ 426 h 462"/>
              <a:gd name="T14" fmla="*/ 98 w 462"/>
              <a:gd name="T15" fmla="*/ 453 h 462"/>
              <a:gd name="T16" fmla="*/ 301 w 462"/>
              <a:gd name="T17" fmla="*/ 248 h 462"/>
              <a:gd name="T18" fmla="*/ 381 w 462"/>
              <a:gd name="T19" fmla="*/ 231 h 462"/>
              <a:gd name="T20" fmla="*/ 443 w 462"/>
              <a:gd name="T21" fmla="*/ 169 h 462"/>
              <a:gd name="T22" fmla="*/ 408 w 462"/>
              <a:gd name="T23" fmla="*/ 54 h 462"/>
              <a:gd name="T24" fmla="*/ 186 w 462"/>
              <a:gd name="T25" fmla="*/ 257 h 462"/>
              <a:gd name="T26" fmla="*/ 186 w 462"/>
              <a:gd name="T27" fmla="*/ 257 h 462"/>
              <a:gd name="T28" fmla="*/ 195 w 462"/>
              <a:gd name="T29" fmla="*/ 222 h 462"/>
              <a:gd name="T30" fmla="*/ 230 w 462"/>
              <a:gd name="T31" fmla="*/ 213 h 462"/>
              <a:gd name="T32" fmla="*/ 221 w 462"/>
              <a:gd name="T33" fmla="*/ 248 h 462"/>
              <a:gd name="T34" fmla="*/ 186 w 462"/>
              <a:gd name="T35" fmla="*/ 257 h 462"/>
              <a:gd name="T36" fmla="*/ 354 w 462"/>
              <a:gd name="T37" fmla="*/ 116 h 462"/>
              <a:gd name="T38" fmla="*/ 354 w 462"/>
              <a:gd name="T39" fmla="*/ 116 h 462"/>
              <a:gd name="T40" fmla="*/ 310 w 462"/>
              <a:gd name="T41" fmla="*/ 36 h 462"/>
              <a:gd name="T42" fmla="*/ 390 w 462"/>
              <a:gd name="T43" fmla="*/ 72 h 462"/>
              <a:gd name="T44" fmla="*/ 425 w 462"/>
              <a:gd name="T45" fmla="*/ 151 h 462"/>
              <a:gd name="T46" fmla="*/ 354 w 462"/>
              <a:gd name="T47" fmla="*/ 116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62" h="462">
                <a:moveTo>
                  <a:pt x="408" y="54"/>
                </a:moveTo>
                <a:lnTo>
                  <a:pt x="408" y="54"/>
                </a:lnTo>
                <a:cubicBezTo>
                  <a:pt x="363" y="19"/>
                  <a:pt x="310" y="0"/>
                  <a:pt x="292" y="19"/>
                </a:cubicBezTo>
                <a:cubicBezTo>
                  <a:pt x="230" y="80"/>
                  <a:pt x="230" y="80"/>
                  <a:pt x="230" y="80"/>
                </a:cubicBezTo>
                <a:cubicBezTo>
                  <a:pt x="221" y="89"/>
                  <a:pt x="213" y="125"/>
                  <a:pt x="213" y="160"/>
                </a:cubicBezTo>
                <a:cubicBezTo>
                  <a:pt x="8" y="363"/>
                  <a:pt x="8" y="363"/>
                  <a:pt x="8" y="363"/>
                </a:cubicBezTo>
                <a:cubicBezTo>
                  <a:pt x="0" y="372"/>
                  <a:pt x="8" y="408"/>
                  <a:pt x="35" y="426"/>
                </a:cubicBezTo>
                <a:cubicBezTo>
                  <a:pt x="62" y="453"/>
                  <a:pt x="89" y="461"/>
                  <a:pt x="98" y="453"/>
                </a:cubicBezTo>
                <a:cubicBezTo>
                  <a:pt x="301" y="248"/>
                  <a:pt x="301" y="248"/>
                  <a:pt x="301" y="248"/>
                </a:cubicBezTo>
                <a:cubicBezTo>
                  <a:pt x="336" y="248"/>
                  <a:pt x="372" y="240"/>
                  <a:pt x="381" y="231"/>
                </a:cubicBezTo>
                <a:cubicBezTo>
                  <a:pt x="443" y="169"/>
                  <a:pt x="443" y="169"/>
                  <a:pt x="443" y="169"/>
                </a:cubicBezTo>
                <a:cubicBezTo>
                  <a:pt x="461" y="151"/>
                  <a:pt x="452" y="98"/>
                  <a:pt x="408" y="54"/>
                </a:cubicBezTo>
                <a:close/>
                <a:moveTo>
                  <a:pt x="186" y="257"/>
                </a:moveTo>
                <a:lnTo>
                  <a:pt x="186" y="257"/>
                </a:lnTo>
                <a:cubicBezTo>
                  <a:pt x="177" y="248"/>
                  <a:pt x="177" y="231"/>
                  <a:pt x="195" y="222"/>
                </a:cubicBezTo>
                <a:cubicBezTo>
                  <a:pt x="204" y="204"/>
                  <a:pt x="221" y="204"/>
                  <a:pt x="230" y="213"/>
                </a:cubicBezTo>
                <a:cubicBezTo>
                  <a:pt x="239" y="222"/>
                  <a:pt x="239" y="240"/>
                  <a:pt x="221" y="248"/>
                </a:cubicBezTo>
                <a:cubicBezTo>
                  <a:pt x="213" y="266"/>
                  <a:pt x="195" y="266"/>
                  <a:pt x="186" y="257"/>
                </a:cubicBezTo>
                <a:close/>
                <a:moveTo>
                  <a:pt x="354" y="116"/>
                </a:moveTo>
                <a:lnTo>
                  <a:pt x="354" y="116"/>
                </a:lnTo>
                <a:cubicBezTo>
                  <a:pt x="319" y="80"/>
                  <a:pt x="310" y="36"/>
                  <a:pt x="310" y="36"/>
                </a:cubicBezTo>
                <a:cubicBezTo>
                  <a:pt x="319" y="27"/>
                  <a:pt x="354" y="44"/>
                  <a:pt x="390" y="72"/>
                </a:cubicBezTo>
                <a:cubicBezTo>
                  <a:pt x="425" y="107"/>
                  <a:pt x="434" y="142"/>
                  <a:pt x="425" y="151"/>
                </a:cubicBezTo>
                <a:cubicBezTo>
                  <a:pt x="425" y="151"/>
                  <a:pt x="381" y="142"/>
                  <a:pt x="354" y="11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45712" tIns="22856" rIns="45712" bIns="22856" anchor="ctr"/>
          <a:lstStyle/>
          <a:p>
            <a:pPr>
              <a:defRPr/>
            </a:pPr>
            <a:endParaRPr lang="en-US" sz="10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7" name="Freeform 16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1456878" y="4268528"/>
            <a:ext cx="232773" cy="266700"/>
          </a:xfrm>
          <a:custGeom>
            <a:avLst/>
            <a:gdLst>
              <a:gd name="T0" fmla="*/ 371 w 390"/>
              <a:gd name="T1" fmla="*/ 0 h 445"/>
              <a:gd name="T2" fmla="*/ 371 w 390"/>
              <a:gd name="T3" fmla="*/ 0 h 445"/>
              <a:gd name="T4" fmla="*/ 310 w 390"/>
              <a:gd name="T5" fmla="*/ 0 h 445"/>
              <a:gd name="T6" fmla="*/ 292 w 390"/>
              <a:gd name="T7" fmla="*/ 28 h 445"/>
              <a:gd name="T8" fmla="*/ 292 w 390"/>
              <a:gd name="T9" fmla="*/ 444 h 445"/>
              <a:gd name="T10" fmla="*/ 389 w 390"/>
              <a:gd name="T11" fmla="*/ 444 h 445"/>
              <a:gd name="T12" fmla="*/ 389 w 390"/>
              <a:gd name="T13" fmla="*/ 28 h 445"/>
              <a:gd name="T14" fmla="*/ 371 w 390"/>
              <a:gd name="T15" fmla="*/ 0 h 445"/>
              <a:gd name="T16" fmla="*/ 221 w 390"/>
              <a:gd name="T17" fmla="*/ 151 h 445"/>
              <a:gd name="T18" fmla="*/ 221 w 390"/>
              <a:gd name="T19" fmla="*/ 151 h 445"/>
              <a:gd name="T20" fmla="*/ 168 w 390"/>
              <a:gd name="T21" fmla="*/ 151 h 445"/>
              <a:gd name="T22" fmla="*/ 141 w 390"/>
              <a:gd name="T23" fmla="*/ 178 h 445"/>
              <a:gd name="T24" fmla="*/ 141 w 390"/>
              <a:gd name="T25" fmla="*/ 444 h 445"/>
              <a:gd name="T26" fmla="*/ 248 w 390"/>
              <a:gd name="T27" fmla="*/ 444 h 445"/>
              <a:gd name="T28" fmla="*/ 248 w 390"/>
              <a:gd name="T29" fmla="*/ 178 h 445"/>
              <a:gd name="T30" fmla="*/ 221 w 390"/>
              <a:gd name="T31" fmla="*/ 151 h 445"/>
              <a:gd name="T32" fmla="*/ 70 w 390"/>
              <a:gd name="T33" fmla="*/ 302 h 445"/>
              <a:gd name="T34" fmla="*/ 70 w 390"/>
              <a:gd name="T35" fmla="*/ 302 h 445"/>
              <a:gd name="T36" fmla="*/ 17 w 390"/>
              <a:gd name="T37" fmla="*/ 302 h 445"/>
              <a:gd name="T38" fmla="*/ 0 w 390"/>
              <a:gd name="T39" fmla="*/ 319 h 445"/>
              <a:gd name="T40" fmla="*/ 0 w 390"/>
              <a:gd name="T41" fmla="*/ 444 h 445"/>
              <a:gd name="T42" fmla="*/ 97 w 390"/>
              <a:gd name="T43" fmla="*/ 444 h 445"/>
              <a:gd name="T44" fmla="*/ 97 w 390"/>
              <a:gd name="T45" fmla="*/ 319 h 445"/>
              <a:gd name="T46" fmla="*/ 70 w 390"/>
              <a:gd name="T47" fmla="*/ 302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90" h="445">
                <a:moveTo>
                  <a:pt x="371" y="0"/>
                </a:moveTo>
                <a:lnTo>
                  <a:pt x="371" y="0"/>
                </a:lnTo>
                <a:cubicBezTo>
                  <a:pt x="310" y="0"/>
                  <a:pt x="310" y="0"/>
                  <a:pt x="310" y="0"/>
                </a:cubicBezTo>
                <a:cubicBezTo>
                  <a:pt x="301" y="0"/>
                  <a:pt x="292" y="10"/>
                  <a:pt x="292" y="28"/>
                </a:cubicBezTo>
                <a:cubicBezTo>
                  <a:pt x="292" y="444"/>
                  <a:pt x="292" y="444"/>
                  <a:pt x="292" y="444"/>
                </a:cubicBezTo>
                <a:cubicBezTo>
                  <a:pt x="389" y="444"/>
                  <a:pt x="389" y="444"/>
                  <a:pt x="389" y="444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0"/>
                  <a:pt x="380" y="0"/>
                  <a:pt x="371" y="0"/>
                </a:cubicBezTo>
                <a:close/>
                <a:moveTo>
                  <a:pt x="221" y="151"/>
                </a:moveTo>
                <a:lnTo>
                  <a:pt x="221" y="151"/>
                </a:lnTo>
                <a:cubicBezTo>
                  <a:pt x="168" y="151"/>
                  <a:pt x="168" y="151"/>
                  <a:pt x="168" y="151"/>
                </a:cubicBezTo>
                <a:cubicBezTo>
                  <a:pt x="150" y="151"/>
                  <a:pt x="141" y="160"/>
                  <a:pt x="141" y="178"/>
                </a:cubicBezTo>
                <a:cubicBezTo>
                  <a:pt x="141" y="444"/>
                  <a:pt x="141" y="444"/>
                  <a:pt x="141" y="444"/>
                </a:cubicBezTo>
                <a:cubicBezTo>
                  <a:pt x="248" y="444"/>
                  <a:pt x="248" y="444"/>
                  <a:pt x="248" y="444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248" y="160"/>
                  <a:pt x="230" y="151"/>
                  <a:pt x="221" y="151"/>
                </a:cubicBezTo>
                <a:close/>
                <a:moveTo>
                  <a:pt x="70" y="302"/>
                </a:moveTo>
                <a:lnTo>
                  <a:pt x="70" y="302"/>
                </a:lnTo>
                <a:cubicBezTo>
                  <a:pt x="17" y="302"/>
                  <a:pt x="17" y="302"/>
                  <a:pt x="17" y="302"/>
                </a:cubicBezTo>
                <a:cubicBezTo>
                  <a:pt x="0" y="302"/>
                  <a:pt x="0" y="310"/>
                  <a:pt x="0" y="319"/>
                </a:cubicBezTo>
                <a:cubicBezTo>
                  <a:pt x="0" y="444"/>
                  <a:pt x="0" y="444"/>
                  <a:pt x="0" y="444"/>
                </a:cubicBezTo>
                <a:cubicBezTo>
                  <a:pt x="97" y="444"/>
                  <a:pt x="97" y="444"/>
                  <a:pt x="97" y="444"/>
                </a:cubicBezTo>
                <a:cubicBezTo>
                  <a:pt x="97" y="319"/>
                  <a:pt x="97" y="319"/>
                  <a:pt x="97" y="319"/>
                </a:cubicBezTo>
                <a:cubicBezTo>
                  <a:pt x="97" y="310"/>
                  <a:pt x="88" y="302"/>
                  <a:pt x="70" y="3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45712" tIns="22856" rIns="45712" bIns="22856" anchor="ctr"/>
          <a:lstStyle/>
          <a:p>
            <a:pPr>
              <a:defRPr/>
            </a:pPr>
            <a:endParaRPr lang="en-US" sz="10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8" name="Freeform 16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4954959" y="4257216"/>
            <a:ext cx="249702" cy="251884"/>
          </a:xfrm>
          <a:custGeom>
            <a:avLst/>
            <a:gdLst>
              <a:gd name="T0" fmla="*/ 177 w 418"/>
              <a:gd name="T1" fmla="*/ 0 h 417"/>
              <a:gd name="T2" fmla="*/ 177 w 418"/>
              <a:gd name="T3" fmla="*/ 0 h 417"/>
              <a:gd name="T4" fmla="*/ 0 w 418"/>
              <a:gd name="T5" fmla="*/ 176 h 417"/>
              <a:gd name="T6" fmla="*/ 177 w 418"/>
              <a:gd name="T7" fmla="*/ 176 h 417"/>
              <a:gd name="T8" fmla="*/ 177 w 418"/>
              <a:gd name="T9" fmla="*/ 0 h 417"/>
              <a:gd name="T10" fmla="*/ 230 w 418"/>
              <a:gd name="T11" fmla="*/ 0 h 417"/>
              <a:gd name="T12" fmla="*/ 230 w 418"/>
              <a:gd name="T13" fmla="*/ 0 h 417"/>
              <a:gd name="T14" fmla="*/ 230 w 418"/>
              <a:gd name="T15" fmla="*/ 203 h 417"/>
              <a:gd name="T16" fmla="*/ 204 w 418"/>
              <a:gd name="T17" fmla="*/ 229 h 417"/>
              <a:gd name="T18" fmla="*/ 0 w 418"/>
              <a:gd name="T19" fmla="*/ 229 h 417"/>
              <a:gd name="T20" fmla="*/ 204 w 418"/>
              <a:gd name="T21" fmla="*/ 416 h 417"/>
              <a:gd name="T22" fmla="*/ 417 w 418"/>
              <a:gd name="T23" fmla="*/ 203 h 417"/>
              <a:gd name="T24" fmla="*/ 230 w 418"/>
              <a:gd name="T25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417">
                <a:moveTo>
                  <a:pt x="177" y="0"/>
                </a:moveTo>
                <a:lnTo>
                  <a:pt x="177" y="0"/>
                </a:lnTo>
                <a:cubicBezTo>
                  <a:pt x="80" y="9"/>
                  <a:pt x="9" y="88"/>
                  <a:pt x="0" y="176"/>
                </a:cubicBezTo>
                <a:cubicBezTo>
                  <a:pt x="177" y="176"/>
                  <a:pt x="177" y="176"/>
                  <a:pt x="177" y="176"/>
                </a:cubicBezTo>
                <a:lnTo>
                  <a:pt x="177" y="0"/>
                </a:lnTo>
                <a:close/>
                <a:moveTo>
                  <a:pt x="230" y="0"/>
                </a:moveTo>
                <a:lnTo>
                  <a:pt x="230" y="0"/>
                </a:lnTo>
                <a:cubicBezTo>
                  <a:pt x="230" y="203"/>
                  <a:pt x="230" y="203"/>
                  <a:pt x="230" y="203"/>
                </a:cubicBezTo>
                <a:cubicBezTo>
                  <a:pt x="230" y="221"/>
                  <a:pt x="222" y="229"/>
                  <a:pt x="204" y="229"/>
                </a:cubicBezTo>
                <a:cubicBezTo>
                  <a:pt x="0" y="229"/>
                  <a:pt x="0" y="229"/>
                  <a:pt x="0" y="229"/>
                </a:cubicBezTo>
                <a:cubicBezTo>
                  <a:pt x="9" y="336"/>
                  <a:pt x="98" y="416"/>
                  <a:pt x="204" y="416"/>
                </a:cubicBezTo>
                <a:cubicBezTo>
                  <a:pt x="319" y="416"/>
                  <a:pt x="417" y="319"/>
                  <a:pt x="417" y="203"/>
                </a:cubicBezTo>
                <a:cubicBezTo>
                  <a:pt x="417" y="97"/>
                  <a:pt x="337" y="9"/>
                  <a:pt x="23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45712" tIns="22856" rIns="45712" bIns="22856" anchor="ctr"/>
          <a:lstStyle/>
          <a:p>
            <a:pPr>
              <a:defRPr/>
            </a:pPr>
            <a:endParaRPr lang="en-US" sz="1000" dirty="0">
              <a:solidFill>
                <a:schemeClr val="bg1"/>
              </a:solidFill>
              <a:cs typeface="等线" panose="02010600030101010101" charset="-122"/>
            </a:endParaRPr>
          </a:p>
        </p:txBody>
      </p:sp>
      <p:sp>
        <p:nvSpPr>
          <p:cNvPr id="9" name="Textfeld 3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157409" y="4171055"/>
            <a:ext cx="19204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微软雅黑" panose="020B0503020204020204" pitchFamily="34" charset="-122"/>
                <a:cs typeface="等线" panose="02010600030101010101" charset="-122"/>
              </a:rPr>
              <a:t>love what you do</a:t>
            </a:r>
            <a:endParaRPr lang="de-DE" sz="1600" dirty="0">
              <a:solidFill>
                <a:schemeClr val="bg1"/>
              </a:solidFill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10" name="Textfeld 3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2157407" y="4420389"/>
            <a:ext cx="1815332" cy="306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50" b="1" dirty="0">
                <a:solidFill>
                  <a:schemeClr val="bg1"/>
                </a:solidFill>
                <a:latin typeface="微软雅黑" panose="020B0503020204020204" pitchFamily="34" charset="-122"/>
                <a:cs typeface="等线" panose="02010600030101010101" charset="-122"/>
              </a:rPr>
              <a:t>// Second Tagline</a:t>
            </a:r>
          </a:p>
        </p:txBody>
      </p:sp>
      <p:sp>
        <p:nvSpPr>
          <p:cNvPr id="11" name="Textfeld 3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5655488" y="4118715"/>
            <a:ext cx="23647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微软雅黑" panose="020B0503020204020204" pitchFamily="34" charset="-122"/>
                <a:cs typeface="等线" panose="02010600030101010101" charset="-122"/>
              </a:rPr>
              <a:t>love what you do</a:t>
            </a:r>
            <a:endParaRPr lang="de-DE" sz="1600" dirty="0">
              <a:solidFill>
                <a:schemeClr val="bg1"/>
              </a:solidFill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12" name="Textfeld 3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5655489" y="4368049"/>
            <a:ext cx="2163343" cy="306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50" b="1" dirty="0">
                <a:solidFill>
                  <a:schemeClr val="bg1"/>
                </a:solidFill>
                <a:latin typeface="微软雅黑" panose="020B0503020204020204" pitchFamily="34" charset="-122"/>
                <a:cs typeface="等线" panose="02010600030101010101" charset="-122"/>
              </a:rPr>
              <a:t>// Second Tagline</a:t>
            </a:r>
          </a:p>
        </p:txBody>
      </p:sp>
      <p:sp>
        <p:nvSpPr>
          <p:cNvPr id="13" name="Textfeld 3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170043" y="4130027"/>
            <a:ext cx="20849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微软雅黑" panose="020B0503020204020204" pitchFamily="34" charset="-122"/>
                <a:cs typeface="等线" panose="02010600030101010101" charset="-122"/>
              </a:rPr>
              <a:t>love what you do</a:t>
            </a:r>
            <a:endParaRPr lang="de-DE" sz="1600" dirty="0">
              <a:solidFill>
                <a:schemeClr val="bg1"/>
              </a:solidFill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14" name="Textfeld 4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9170043" y="4379362"/>
            <a:ext cx="2084938" cy="3061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50" b="1" dirty="0">
                <a:solidFill>
                  <a:schemeClr val="bg1"/>
                </a:solidFill>
                <a:latin typeface="微软雅黑" panose="020B0503020204020204" pitchFamily="34" charset="-122"/>
                <a:cs typeface="等线" panose="02010600030101010101" charset="-122"/>
              </a:rPr>
              <a:t>// Second Tagline</a:t>
            </a:r>
          </a:p>
        </p:txBody>
      </p:sp>
      <p:pic>
        <p:nvPicPr>
          <p:cNvPr id="7174" name="Picture 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 noChangeArrowheads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510516" y="4482072"/>
            <a:ext cx="9832457" cy="2375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hape 3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2547050" y="958409"/>
            <a:ext cx="7097899" cy="494494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/>
          <a:p>
            <a:pPr lvl="0" algn="ctr">
              <a:lnSpc>
                <a:spcPct val="80000"/>
              </a:lnSpc>
              <a:defRPr sz="1800"/>
            </a:pPr>
            <a:r>
              <a:rPr sz="3600" b="1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The Secrets</a:t>
            </a:r>
            <a:r>
              <a:rPr sz="3600" dirty="0">
                <a:solidFill>
                  <a:schemeClr val="bg1"/>
                </a:solidFill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 of Our Success Story</a:t>
            </a:r>
          </a:p>
        </p:txBody>
      </p:sp>
      <p:sp>
        <p:nvSpPr>
          <p:cNvPr id="21" name="Shape 31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3732339" y="527560"/>
            <a:ext cx="4833381" cy="359073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>
            <a:lvl1pPr algn="l">
              <a:defRPr sz="4000" b="1">
                <a:solidFill>
                  <a:srgbClr val="232323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sz="200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What We Do</a:t>
            </a:r>
          </a:p>
        </p:txBody>
      </p:sp>
      <p:grpSp>
        <p:nvGrpSpPr>
          <p:cNvPr id="19" name="组合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5751766" y="1544959"/>
            <a:ext cx="688468" cy="235211"/>
            <a:chOff x="4375901" y="3868502"/>
            <a:chExt cx="990347" cy="338346"/>
          </a:xfrm>
          <a:solidFill>
            <a:schemeClr val="bg1"/>
          </a:solidFill>
        </p:grpSpPr>
        <p:sp>
          <p:nvSpPr>
            <p:cNvPr id="24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25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27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>
            <a:off x="2056847" y="2498809"/>
            <a:ext cx="8370829" cy="930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400" dirty="0">
                <a:solidFill>
                  <a:schemeClr val="bg1"/>
                </a:solidFill>
                <a:latin typeface="华文细黑" panose="02010600040101010101" pitchFamily="2" charset="-122"/>
                <a:ea typeface="华文细黑" panose="02010600040101010101" pitchFamily="2" charset="-122"/>
                <a:cs typeface="+mn-ea"/>
                <a:sym typeface="+mn-lt"/>
              </a:rPr>
              <a:t>“This is a sample text. insert your desired text here. Again. this is a dummy text. enter your own text here. This is a sample text. insert your desired text here. Again. this is a dummy text. enter your own text here.”</a:t>
            </a:r>
          </a:p>
        </p:txBody>
      </p:sp>
      <p:sp>
        <p:nvSpPr>
          <p:cNvPr id="22" name="L 形 2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740877" y="3270738"/>
            <a:ext cx="316523" cy="316523"/>
          </a:xfrm>
          <a:prstGeom prst="corner">
            <a:avLst>
              <a:gd name="adj1" fmla="val 0"/>
              <a:gd name="adj2" fmla="val 0"/>
            </a:avLst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等线" panose="02010600030101010101" charset="-122"/>
            </a:endParaRPr>
          </a:p>
        </p:txBody>
      </p:sp>
      <p:sp>
        <p:nvSpPr>
          <p:cNvPr id="29" name="L 形 2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flipH="1" flipV="1">
            <a:off x="10439400" y="2262554"/>
            <a:ext cx="316523" cy="316523"/>
          </a:xfrm>
          <a:prstGeom prst="corner">
            <a:avLst>
              <a:gd name="adj1" fmla="val 0"/>
              <a:gd name="adj2" fmla="val 0"/>
            </a:avLst>
          </a:prstGeom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等线" panose="02010600030101010101" charset="-122"/>
            </a:endParaRP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占位符 1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7" name="图片占位符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1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8" name="图片占位符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2"/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pic>
        <p:nvPicPr>
          <p:cNvPr id="19" name="图片占位符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Grp="1" noChangeAspect="1"/>
          </p:cNvPicPr>
          <p:nvPr>
            <p:ph type="pic" sz="quarter" idx="13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/>
      </p:pic>
      <p:sp>
        <p:nvSpPr>
          <p:cNvPr id="6" name="Down Arrow Callout 3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952564">
            <a:off x="6761043" y="3136508"/>
            <a:ext cx="2454516" cy="2440951"/>
          </a:xfrm>
          <a:prstGeom prst="downArrowCallout">
            <a:avLst>
              <a:gd name="adj1" fmla="val 23554"/>
              <a:gd name="adj2" fmla="val 10346"/>
              <a:gd name="adj3" fmla="val 10003"/>
              <a:gd name="adj4" fmla="val 8999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spcBef>
                <a:spcPct val="20000"/>
              </a:spcBef>
              <a:defRPr/>
            </a:pPr>
            <a:endParaRPr lang="en-US" sz="2200" dirty="0">
              <a:solidFill>
                <a:schemeClr val="bg1"/>
              </a:solidFill>
              <a:latin typeface="微软雅黑" panose="020B0503020204020204" pitchFamily="34" charset="-122"/>
              <a:cs typeface="等线" panose="02010600030101010101" charset="-122"/>
            </a:endParaRPr>
          </a:p>
        </p:txBody>
      </p:sp>
      <p:sp>
        <p:nvSpPr>
          <p:cNvPr id="7" name="Up Arrow Callout 5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952564">
            <a:off x="8979726" y="5573633"/>
            <a:ext cx="2454516" cy="2464629"/>
          </a:xfrm>
          <a:prstGeom prst="upArrowCallout">
            <a:avLst>
              <a:gd name="adj1" fmla="val 25000"/>
              <a:gd name="adj2" fmla="val 9346"/>
              <a:gd name="adj3" fmla="val 11156"/>
              <a:gd name="adj4" fmla="val 8884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spcBef>
                <a:spcPct val="20000"/>
              </a:spcBef>
              <a:defRPr/>
            </a:pPr>
            <a:endParaRPr lang="en-US" sz="900" b="1" dirty="0">
              <a:solidFill>
                <a:schemeClr val="bg1">
                  <a:lumMod val="95000"/>
                </a:schemeClr>
              </a:solidFill>
              <a:cs typeface="等线" panose="02010600030101010101" charset="-122"/>
            </a:endParaRPr>
          </a:p>
        </p:txBody>
      </p:sp>
      <p:sp>
        <p:nvSpPr>
          <p:cNvPr id="8" name="Down Arrow Callout 1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952564">
            <a:off x="8000180" y="-1318261"/>
            <a:ext cx="2454516" cy="2440951"/>
          </a:xfrm>
          <a:prstGeom prst="downArrowCallout">
            <a:avLst>
              <a:gd name="adj1" fmla="val 23554"/>
              <a:gd name="adj2" fmla="val 10346"/>
              <a:gd name="adj3" fmla="val 10003"/>
              <a:gd name="adj4" fmla="val 89997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spcBef>
                <a:spcPct val="20000"/>
              </a:spcBef>
              <a:defRPr/>
            </a:pPr>
            <a:endParaRPr lang="en-US" sz="800" dirty="0">
              <a:solidFill>
                <a:schemeClr val="bg1">
                  <a:lumMod val="95000"/>
                </a:schemeClr>
              </a:solidFill>
              <a:cs typeface="等线" panose="02010600030101010101" charset="-122"/>
            </a:endParaRPr>
          </a:p>
        </p:txBody>
      </p:sp>
      <p:sp>
        <p:nvSpPr>
          <p:cNvPr id="9" name="Up Arrow Callout 1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 rot="952564">
            <a:off x="10205953" y="1115193"/>
            <a:ext cx="2454516" cy="2464629"/>
          </a:xfrm>
          <a:prstGeom prst="upArrowCallout">
            <a:avLst>
              <a:gd name="adj1" fmla="val 25000"/>
              <a:gd name="adj2" fmla="val 9346"/>
              <a:gd name="adj3" fmla="val 11156"/>
              <a:gd name="adj4" fmla="val 88844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>
              <a:spcBef>
                <a:spcPct val="20000"/>
              </a:spcBef>
              <a:defRPr/>
            </a:pPr>
            <a:endParaRPr lang="en-US" sz="800" b="1" dirty="0">
              <a:solidFill>
                <a:schemeClr val="bg1">
                  <a:lumMod val="95000"/>
                </a:schemeClr>
              </a:solidFill>
              <a:cs typeface="等线" panose="02010600030101010101" charset="-122"/>
            </a:endParaRPr>
          </a:p>
        </p:txBody>
      </p:sp>
      <p:sp>
        <p:nvSpPr>
          <p:cNvPr id="10" name="Textfeld 1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rot="952564">
            <a:off x="6925970" y="3537610"/>
            <a:ext cx="2451297" cy="397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500" dirty="0">
                <a:solidFill>
                  <a:schemeClr val="accent1"/>
                </a:solidFill>
                <a:latin typeface="微软雅黑" panose="020B0503020204020204" pitchFamily="34" charset="-122"/>
                <a:cs typeface="等线" panose="02010600030101010101" charset="-122"/>
              </a:rPr>
              <a:t>TITLE ONE</a:t>
            </a:r>
          </a:p>
        </p:txBody>
      </p:sp>
      <p:sp>
        <p:nvSpPr>
          <p:cNvPr id="11" name="Freeform 16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 rot="952564">
            <a:off x="8809227" y="-151258"/>
            <a:ext cx="664919" cy="670729"/>
          </a:xfrm>
          <a:custGeom>
            <a:avLst/>
            <a:gdLst>
              <a:gd name="T0" fmla="*/ 177 w 418"/>
              <a:gd name="T1" fmla="*/ 0 h 417"/>
              <a:gd name="T2" fmla="*/ 177 w 418"/>
              <a:gd name="T3" fmla="*/ 0 h 417"/>
              <a:gd name="T4" fmla="*/ 0 w 418"/>
              <a:gd name="T5" fmla="*/ 176 h 417"/>
              <a:gd name="T6" fmla="*/ 177 w 418"/>
              <a:gd name="T7" fmla="*/ 176 h 417"/>
              <a:gd name="T8" fmla="*/ 177 w 418"/>
              <a:gd name="T9" fmla="*/ 0 h 417"/>
              <a:gd name="T10" fmla="*/ 230 w 418"/>
              <a:gd name="T11" fmla="*/ 0 h 417"/>
              <a:gd name="T12" fmla="*/ 230 w 418"/>
              <a:gd name="T13" fmla="*/ 0 h 417"/>
              <a:gd name="T14" fmla="*/ 230 w 418"/>
              <a:gd name="T15" fmla="*/ 203 h 417"/>
              <a:gd name="T16" fmla="*/ 204 w 418"/>
              <a:gd name="T17" fmla="*/ 229 h 417"/>
              <a:gd name="T18" fmla="*/ 0 w 418"/>
              <a:gd name="T19" fmla="*/ 229 h 417"/>
              <a:gd name="T20" fmla="*/ 204 w 418"/>
              <a:gd name="T21" fmla="*/ 416 h 417"/>
              <a:gd name="T22" fmla="*/ 417 w 418"/>
              <a:gd name="T23" fmla="*/ 203 h 417"/>
              <a:gd name="T24" fmla="*/ 230 w 418"/>
              <a:gd name="T25" fmla="*/ 0 h 4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8" h="417">
                <a:moveTo>
                  <a:pt x="177" y="0"/>
                </a:moveTo>
                <a:lnTo>
                  <a:pt x="177" y="0"/>
                </a:lnTo>
                <a:cubicBezTo>
                  <a:pt x="80" y="9"/>
                  <a:pt x="9" y="88"/>
                  <a:pt x="0" y="176"/>
                </a:cubicBezTo>
                <a:cubicBezTo>
                  <a:pt x="177" y="176"/>
                  <a:pt x="177" y="176"/>
                  <a:pt x="177" y="176"/>
                </a:cubicBezTo>
                <a:lnTo>
                  <a:pt x="177" y="0"/>
                </a:lnTo>
                <a:close/>
                <a:moveTo>
                  <a:pt x="230" y="0"/>
                </a:moveTo>
                <a:lnTo>
                  <a:pt x="230" y="0"/>
                </a:lnTo>
                <a:cubicBezTo>
                  <a:pt x="230" y="203"/>
                  <a:pt x="230" y="203"/>
                  <a:pt x="230" y="203"/>
                </a:cubicBezTo>
                <a:cubicBezTo>
                  <a:pt x="230" y="221"/>
                  <a:pt x="222" y="229"/>
                  <a:pt x="204" y="229"/>
                </a:cubicBezTo>
                <a:cubicBezTo>
                  <a:pt x="0" y="229"/>
                  <a:pt x="0" y="229"/>
                  <a:pt x="0" y="229"/>
                </a:cubicBezTo>
                <a:cubicBezTo>
                  <a:pt x="9" y="336"/>
                  <a:pt x="98" y="416"/>
                  <a:pt x="204" y="416"/>
                </a:cubicBezTo>
                <a:cubicBezTo>
                  <a:pt x="319" y="416"/>
                  <a:pt x="417" y="319"/>
                  <a:pt x="417" y="203"/>
                </a:cubicBezTo>
                <a:cubicBezTo>
                  <a:pt x="417" y="97"/>
                  <a:pt x="337" y="9"/>
                  <a:pt x="23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lIns="45712" tIns="22856" rIns="45712" bIns="22856" anchor="ctr"/>
          <a:lstStyle/>
          <a:p>
            <a:pPr>
              <a:defRPr/>
            </a:pPr>
            <a:endParaRPr lang="en-US" sz="900" dirty="0">
              <a:cs typeface="等线" panose="02010600030101010101" charset="-122"/>
            </a:endParaRPr>
          </a:p>
        </p:txBody>
      </p:sp>
      <p:sp>
        <p:nvSpPr>
          <p:cNvPr id="12" name="Freeform 6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 rot="952564">
            <a:off x="10962476" y="2539809"/>
            <a:ext cx="686590" cy="686772"/>
          </a:xfrm>
          <a:custGeom>
            <a:avLst/>
            <a:gdLst>
              <a:gd name="T0" fmla="*/ 408 w 462"/>
              <a:gd name="T1" fmla="*/ 54 h 462"/>
              <a:gd name="T2" fmla="*/ 408 w 462"/>
              <a:gd name="T3" fmla="*/ 54 h 462"/>
              <a:gd name="T4" fmla="*/ 292 w 462"/>
              <a:gd name="T5" fmla="*/ 19 h 462"/>
              <a:gd name="T6" fmla="*/ 230 w 462"/>
              <a:gd name="T7" fmla="*/ 80 h 462"/>
              <a:gd name="T8" fmla="*/ 213 w 462"/>
              <a:gd name="T9" fmla="*/ 160 h 462"/>
              <a:gd name="T10" fmla="*/ 8 w 462"/>
              <a:gd name="T11" fmla="*/ 363 h 462"/>
              <a:gd name="T12" fmla="*/ 35 w 462"/>
              <a:gd name="T13" fmla="*/ 426 h 462"/>
              <a:gd name="T14" fmla="*/ 98 w 462"/>
              <a:gd name="T15" fmla="*/ 453 h 462"/>
              <a:gd name="T16" fmla="*/ 301 w 462"/>
              <a:gd name="T17" fmla="*/ 248 h 462"/>
              <a:gd name="T18" fmla="*/ 381 w 462"/>
              <a:gd name="T19" fmla="*/ 231 h 462"/>
              <a:gd name="T20" fmla="*/ 443 w 462"/>
              <a:gd name="T21" fmla="*/ 169 h 462"/>
              <a:gd name="T22" fmla="*/ 408 w 462"/>
              <a:gd name="T23" fmla="*/ 54 h 462"/>
              <a:gd name="T24" fmla="*/ 186 w 462"/>
              <a:gd name="T25" fmla="*/ 257 h 462"/>
              <a:gd name="T26" fmla="*/ 186 w 462"/>
              <a:gd name="T27" fmla="*/ 257 h 462"/>
              <a:gd name="T28" fmla="*/ 195 w 462"/>
              <a:gd name="T29" fmla="*/ 222 h 462"/>
              <a:gd name="T30" fmla="*/ 230 w 462"/>
              <a:gd name="T31" fmla="*/ 213 h 462"/>
              <a:gd name="T32" fmla="*/ 221 w 462"/>
              <a:gd name="T33" fmla="*/ 248 h 462"/>
              <a:gd name="T34" fmla="*/ 186 w 462"/>
              <a:gd name="T35" fmla="*/ 257 h 462"/>
              <a:gd name="T36" fmla="*/ 354 w 462"/>
              <a:gd name="T37" fmla="*/ 116 h 462"/>
              <a:gd name="T38" fmla="*/ 354 w 462"/>
              <a:gd name="T39" fmla="*/ 116 h 462"/>
              <a:gd name="T40" fmla="*/ 310 w 462"/>
              <a:gd name="T41" fmla="*/ 36 h 462"/>
              <a:gd name="T42" fmla="*/ 390 w 462"/>
              <a:gd name="T43" fmla="*/ 72 h 462"/>
              <a:gd name="T44" fmla="*/ 425 w 462"/>
              <a:gd name="T45" fmla="*/ 151 h 462"/>
              <a:gd name="T46" fmla="*/ 354 w 462"/>
              <a:gd name="T47" fmla="*/ 116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62" h="462">
                <a:moveTo>
                  <a:pt x="408" y="54"/>
                </a:moveTo>
                <a:lnTo>
                  <a:pt x="408" y="54"/>
                </a:lnTo>
                <a:cubicBezTo>
                  <a:pt x="363" y="19"/>
                  <a:pt x="310" y="0"/>
                  <a:pt x="292" y="19"/>
                </a:cubicBezTo>
                <a:cubicBezTo>
                  <a:pt x="230" y="80"/>
                  <a:pt x="230" y="80"/>
                  <a:pt x="230" y="80"/>
                </a:cubicBezTo>
                <a:cubicBezTo>
                  <a:pt x="221" y="89"/>
                  <a:pt x="213" y="125"/>
                  <a:pt x="213" y="160"/>
                </a:cubicBezTo>
                <a:cubicBezTo>
                  <a:pt x="8" y="363"/>
                  <a:pt x="8" y="363"/>
                  <a:pt x="8" y="363"/>
                </a:cubicBezTo>
                <a:cubicBezTo>
                  <a:pt x="0" y="372"/>
                  <a:pt x="8" y="408"/>
                  <a:pt x="35" y="426"/>
                </a:cubicBezTo>
                <a:cubicBezTo>
                  <a:pt x="62" y="453"/>
                  <a:pt x="89" y="461"/>
                  <a:pt x="98" y="453"/>
                </a:cubicBezTo>
                <a:cubicBezTo>
                  <a:pt x="301" y="248"/>
                  <a:pt x="301" y="248"/>
                  <a:pt x="301" y="248"/>
                </a:cubicBezTo>
                <a:cubicBezTo>
                  <a:pt x="336" y="248"/>
                  <a:pt x="372" y="240"/>
                  <a:pt x="381" y="231"/>
                </a:cubicBezTo>
                <a:cubicBezTo>
                  <a:pt x="443" y="169"/>
                  <a:pt x="443" y="169"/>
                  <a:pt x="443" y="169"/>
                </a:cubicBezTo>
                <a:cubicBezTo>
                  <a:pt x="461" y="151"/>
                  <a:pt x="452" y="98"/>
                  <a:pt x="408" y="54"/>
                </a:cubicBezTo>
                <a:close/>
                <a:moveTo>
                  <a:pt x="186" y="257"/>
                </a:moveTo>
                <a:lnTo>
                  <a:pt x="186" y="257"/>
                </a:lnTo>
                <a:cubicBezTo>
                  <a:pt x="177" y="248"/>
                  <a:pt x="177" y="231"/>
                  <a:pt x="195" y="222"/>
                </a:cubicBezTo>
                <a:cubicBezTo>
                  <a:pt x="204" y="204"/>
                  <a:pt x="221" y="204"/>
                  <a:pt x="230" y="213"/>
                </a:cubicBezTo>
                <a:cubicBezTo>
                  <a:pt x="239" y="222"/>
                  <a:pt x="239" y="240"/>
                  <a:pt x="221" y="248"/>
                </a:cubicBezTo>
                <a:cubicBezTo>
                  <a:pt x="213" y="266"/>
                  <a:pt x="195" y="266"/>
                  <a:pt x="186" y="257"/>
                </a:cubicBezTo>
                <a:close/>
                <a:moveTo>
                  <a:pt x="354" y="116"/>
                </a:moveTo>
                <a:lnTo>
                  <a:pt x="354" y="116"/>
                </a:lnTo>
                <a:cubicBezTo>
                  <a:pt x="319" y="80"/>
                  <a:pt x="310" y="36"/>
                  <a:pt x="310" y="36"/>
                </a:cubicBezTo>
                <a:cubicBezTo>
                  <a:pt x="319" y="27"/>
                  <a:pt x="354" y="44"/>
                  <a:pt x="390" y="72"/>
                </a:cubicBezTo>
                <a:cubicBezTo>
                  <a:pt x="425" y="107"/>
                  <a:pt x="434" y="142"/>
                  <a:pt x="425" y="151"/>
                </a:cubicBezTo>
                <a:cubicBezTo>
                  <a:pt x="425" y="151"/>
                  <a:pt x="381" y="142"/>
                  <a:pt x="354" y="1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lIns="45712" tIns="22856" rIns="45712" bIns="22856" anchor="ctr"/>
          <a:lstStyle/>
          <a:p>
            <a:pPr>
              <a:defRPr/>
            </a:pPr>
            <a:endParaRPr lang="en-US" sz="900" dirty="0">
              <a:cs typeface="等线" panose="02010600030101010101" charset="-122"/>
            </a:endParaRPr>
          </a:p>
        </p:txBody>
      </p:sp>
      <p:sp>
        <p:nvSpPr>
          <p:cNvPr id="13" name="Freeform 12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 rot="952564">
            <a:off x="7524427" y="4084683"/>
            <a:ext cx="823192" cy="710040"/>
          </a:xfrm>
          <a:custGeom>
            <a:avLst/>
            <a:gdLst>
              <a:gd name="T0" fmla="*/ 60431965 w 609"/>
              <a:gd name="T1" fmla="*/ 54199644 h 524"/>
              <a:gd name="T2" fmla="*/ 60431965 w 609"/>
              <a:gd name="T3" fmla="*/ 46791299 h 524"/>
              <a:gd name="T4" fmla="*/ 67678707 w 609"/>
              <a:gd name="T5" fmla="*/ 27554619 h 524"/>
              <a:gd name="T6" fmla="*/ 66772909 w 609"/>
              <a:gd name="T7" fmla="*/ 26645025 h 524"/>
              <a:gd name="T8" fmla="*/ 65867111 w 609"/>
              <a:gd name="T9" fmla="*/ 26645025 h 524"/>
              <a:gd name="T10" fmla="*/ 64961313 w 609"/>
              <a:gd name="T11" fmla="*/ 25735070 h 524"/>
              <a:gd name="T12" fmla="*/ 64055516 w 609"/>
              <a:gd name="T13" fmla="*/ 25735070 h 524"/>
              <a:gd name="T14" fmla="*/ 63149718 w 609"/>
              <a:gd name="T15" fmla="*/ 24825476 h 524"/>
              <a:gd name="T16" fmla="*/ 61338122 w 609"/>
              <a:gd name="T17" fmla="*/ 24825476 h 524"/>
              <a:gd name="T18" fmla="*/ 60431965 w 609"/>
              <a:gd name="T19" fmla="*/ 24825476 h 524"/>
              <a:gd name="T20" fmla="*/ 59526167 w 609"/>
              <a:gd name="T21" fmla="*/ 23005566 h 524"/>
              <a:gd name="T22" fmla="*/ 58620369 w 609"/>
              <a:gd name="T23" fmla="*/ 21055868 h 524"/>
              <a:gd name="T24" fmla="*/ 57714571 w 609"/>
              <a:gd name="T25" fmla="*/ 19236319 h 524"/>
              <a:gd name="T26" fmla="*/ 56808774 w 609"/>
              <a:gd name="T27" fmla="*/ 17416769 h 524"/>
              <a:gd name="T28" fmla="*/ 21998871 w 609"/>
              <a:gd name="T29" fmla="*/ 17416769 h 524"/>
              <a:gd name="T30" fmla="*/ 21093073 w 609"/>
              <a:gd name="T31" fmla="*/ 19236319 h 524"/>
              <a:gd name="T32" fmla="*/ 20187276 w 609"/>
              <a:gd name="T33" fmla="*/ 21055868 h 524"/>
              <a:gd name="T34" fmla="*/ 19281478 w 609"/>
              <a:gd name="T35" fmla="*/ 23005566 h 524"/>
              <a:gd name="T36" fmla="*/ 18375680 w 609"/>
              <a:gd name="T37" fmla="*/ 24825476 h 524"/>
              <a:gd name="T38" fmla="*/ 17469523 w 609"/>
              <a:gd name="T39" fmla="*/ 24825476 h 524"/>
              <a:gd name="T40" fmla="*/ 15657927 w 609"/>
              <a:gd name="T41" fmla="*/ 24825476 h 524"/>
              <a:gd name="T42" fmla="*/ 14622627 w 609"/>
              <a:gd name="T43" fmla="*/ 25735070 h 524"/>
              <a:gd name="T44" fmla="*/ 13716829 w 609"/>
              <a:gd name="T45" fmla="*/ 25735070 h 524"/>
              <a:gd name="T46" fmla="*/ 12811031 w 609"/>
              <a:gd name="T47" fmla="*/ 26645025 h 524"/>
              <a:gd name="T48" fmla="*/ 11905233 w 609"/>
              <a:gd name="T49" fmla="*/ 26645025 h 524"/>
              <a:gd name="T50" fmla="*/ 10999436 w 609"/>
              <a:gd name="T51" fmla="*/ 27554619 h 524"/>
              <a:gd name="T52" fmla="*/ 18375680 w 609"/>
              <a:gd name="T53" fmla="*/ 46791299 h 524"/>
              <a:gd name="T54" fmla="*/ 18375680 w 609"/>
              <a:gd name="T55" fmla="*/ 54199644 h 524"/>
              <a:gd name="T56" fmla="*/ 12811031 w 609"/>
              <a:gd name="T57" fmla="*/ 18326364 h 524"/>
              <a:gd name="T58" fmla="*/ 65867111 w 609"/>
              <a:gd name="T59" fmla="*/ 18326364 h 524"/>
              <a:gd name="T60" fmla="*/ 60431965 w 609"/>
              <a:gd name="T61" fmla="*/ 54199644 h 524"/>
              <a:gd name="T62" fmla="*/ 25622062 w 609"/>
              <a:gd name="T63" fmla="*/ 45881344 h 524"/>
              <a:gd name="T64" fmla="*/ 36621498 w 609"/>
              <a:gd name="T65" fmla="*/ 33013628 h 524"/>
              <a:gd name="T66" fmla="*/ 42186147 w 609"/>
              <a:gd name="T67" fmla="*/ 33013628 h 524"/>
              <a:gd name="T68" fmla="*/ 53056080 w 609"/>
              <a:gd name="T69" fmla="*/ 45881344 h 524"/>
              <a:gd name="T70" fmla="*/ 53961878 w 609"/>
              <a:gd name="T71" fmla="*/ 47700893 h 524"/>
              <a:gd name="T72" fmla="*/ 47620933 w 609"/>
              <a:gd name="T73" fmla="*/ 50560546 h 524"/>
              <a:gd name="T74" fmla="*/ 43091945 w 609"/>
              <a:gd name="T75" fmla="*/ 44971389 h 524"/>
              <a:gd name="T76" fmla="*/ 39339251 w 609"/>
              <a:gd name="T77" fmla="*/ 67976954 h 524"/>
              <a:gd name="T78" fmla="*/ 35715700 w 609"/>
              <a:gd name="T79" fmla="*/ 44971389 h 524"/>
              <a:gd name="T80" fmla="*/ 31186711 w 609"/>
              <a:gd name="T81" fmla="*/ 50560546 h 524"/>
              <a:gd name="T82" fmla="*/ 24716265 w 609"/>
              <a:gd name="T83" fmla="*/ 47700893 h 52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09" h="524">
                <a:moveTo>
                  <a:pt x="467" y="417"/>
                </a:moveTo>
                <a:lnTo>
                  <a:pt x="467" y="417"/>
                </a:lnTo>
                <a:cubicBezTo>
                  <a:pt x="446" y="417"/>
                  <a:pt x="439" y="403"/>
                  <a:pt x="439" y="389"/>
                </a:cubicBezTo>
                <a:cubicBezTo>
                  <a:pt x="439" y="375"/>
                  <a:pt x="446" y="360"/>
                  <a:pt x="467" y="360"/>
                </a:cubicBezTo>
                <a:cubicBezTo>
                  <a:pt x="509" y="360"/>
                  <a:pt x="552" y="325"/>
                  <a:pt x="552" y="276"/>
                </a:cubicBezTo>
                <a:cubicBezTo>
                  <a:pt x="552" y="247"/>
                  <a:pt x="537" y="226"/>
                  <a:pt x="523" y="212"/>
                </a:cubicBezTo>
                <a:cubicBezTo>
                  <a:pt x="516" y="212"/>
                  <a:pt x="516" y="212"/>
                  <a:pt x="516" y="205"/>
                </a:cubicBezTo>
                <a:lnTo>
                  <a:pt x="509" y="205"/>
                </a:lnTo>
                <a:lnTo>
                  <a:pt x="502" y="198"/>
                </a:lnTo>
                <a:lnTo>
                  <a:pt x="495" y="198"/>
                </a:lnTo>
                <a:cubicBezTo>
                  <a:pt x="495" y="198"/>
                  <a:pt x="488" y="198"/>
                  <a:pt x="488" y="191"/>
                </a:cubicBezTo>
                <a:cubicBezTo>
                  <a:pt x="481" y="191"/>
                  <a:pt x="481" y="191"/>
                  <a:pt x="481" y="191"/>
                </a:cubicBezTo>
                <a:cubicBezTo>
                  <a:pt x="481" y="191"/>
                  <a:pt x="481" y="191"/>
                  <a:pt x="474" y="191"/>
                </a:cubicBezTo>
                <a:cubicBezTo>
                  <a:pt x="467" y="191"/>
                  <a:pt x="467" y="191"/>
                  <a:pt x="467" y="191"/>
                </a:cubicBezTo>
                <a:lnTo>
                  <a:pt x="460" y="191"/>
                </a:lnTo>
                <a:cubicBezTo>
                  <a:pt x="460" y="184"/>
                  <a:pt x="460" y="184"/>
                  <a:pt x="460" y="177"/>
                </a:cubicBezTo>
                <a:cubicBezTo>
                  <a:pt x="460" y="169"/>
                  <a:pt x="453" y="169"/>
                  <a:pt x="453" y="162"/>
                </a:cubicBezTo>
                <a:cubicBezTo>
                  <a:pt x="453" y="155"/>
                  <a:pt x="453" y="155"/>
                  <a:pt x="446" y="148"/>
                </a:cubicBezTo>
                <a:cubicBezTo>
                  <a:pt x="446" y="141"/>
                  <a:pt x="446" y="141"/>
                  <a:pt x="439" y="134"/>
                </a:cubicBezTo>
                <a:cubicBezTo>
                  <a:pt x="410" y="92"/>
                  <a:pt x="361" y="56"/>
                  <a:pt x="304" y="56"/>
                </a:cubicBezTo>
                <a:cubicBezTo>
                  <a:pt x="248" y="56"/>
                  <a:pt x="198" y="92"/>
                  <a:pt x="170" y="134"/>
                </a:cubicBezTo>
                <a:cubicBezTo>
                  <a:pt x="163" y="141"/>
                  <a:pt x="163" y="141"/>
                  <a:pt x="163" y="148"/>
                </a:cubicBezTo>
                <a:cubicBezTo>
                  <a:pt x="156" y="155"/>
                  <a:pt x="156" y="155"/>
                  <a:pt x="156" y="162"/>
                </a:cubicBezTo>
                <a:cubicBezTo>
                  <a:pt x="156" y="169"/>
                  <a:pt x="149" y="169"/>
                  <a:pt x="149" y="177"/>
                </a:cubicBezTo>
                <a:cubicBezTo>
                  <a:pt x="149" y="184"/>
                  <a:pt x="149" y="184"/>
                  <a:pt x="149" y="191"/>
                </a:cubicBezTo>
                <a:lnTo>
                  <a:pt x="142" y="191"/>
                </a:lnTo>
                <a:cubicBezTo>
                  <a:pt x="142" y="191"/>
                  <a:pt x="142" y="191"/>
                  <a:pt x="135" y="191"/>
                </a:cubicBezTo>
                <a:cubicBezTo>
                  <a:pt x="128" y="191"/>
                  <a:pt x="128" y="191"/>
                  <a:pt x="128" y="191"/>
                </a:cubicBezTo>
                <a:cubicBezTo>
                  <a:pt x="128" y="191"/>
                  <a:pt x="128" y="191"/>
                  <a:pt x="121" y="191"/>
                </a:cubicBezTo>
                <a:cubicBezTo>
                  <a:pt x="121" y="198"/>
                  <a:pt x="113" y="198"/>
                  <a:pt x="113" y="198"/>
                </a:cubicBezTo>
                <a:lnTo>
                  <a:pt x="106" y="198"/>
                </a:lnTo>
                <a:lnTo>
                  <a:pt x="99" y="205"/>
                </a:lnTo>
                <a:lnTo>
                  <a:pt x="92" y="205"/>
                </a:lnTo>
                <a:cubicBezTo>
                  <a:pt x="92" y="212"/>
                  <a:pt x="92" y="212"/>
                  <a:pt x="85" y="212"/>
                </a:cubicBezTo>
                <a:cubicBezTo>
                  <a:pt x="71" y="226"/>
                  <a:pt x="57" y="247"/>
                  <a:pt x="57" y="276"/>
                </a:cubicBezTo>
                <a:cubicBezTo>
                  <a:pt x="57" y="325"/>
                  <a:pt x="99" y="360"/>
                  <a:pt x="142" y="360"/>
                </a:cubicBezTo>
                <a:cubicBezTo>
                  <a:pt x="163" y="360"/>
                  <a:pt x="170" y="375"/>
                  <a:pt x="170" y="389"/>
                </a:cubicBezTo>
                <a:cubicBezTo>
                  <a:pt x="170" y="403"/>
                  <a:pt x="163" y="417"/>
                  <a:pt x="142" y="417"/>
                </a:cubicBezTo>
                <a:cubicBezTo>
                  <a:pt x="64" y="417"/>
                  <a:pt x="0" y="353"/>
                  <a:pt x="0" y="276"/>
                </a:cubicBezTo>
                <a:cubicBezTo>
                  <a:pt x="0" y="212"/>
                  <a:pt x="43" y="155"/>
                  <a:pt x="99" y="141"/>
                </a:cubicBezTo>
                <a:cubicBezTo>
                  <a:pt x="135" y="56"/>
                  <a:pt x="212" y="0"/>
                  <a:pt x="304" y="0"/>
                </a:cubicBezTo>
                <a:cubicBezTo>
                  <a:pt x="396" y="0"/>
                  <a:pt x="474" y="56"/>
                  <a:pt x="509" y="141"/>
                </a:cubicBezTo>
                <a:cubicBezTo>
                  <a:pt x="566" y="155"/>
                  <a:pt x="608" y="212"/>
                  <a:pt x="608" y="276"/>
                </a:cubicBezTo>
                <a:cubicBezTo>
                  <a:pt x="608" y="353"/>
                  <a:pt x="545" y="417"/>
                  <a:pt x="467" y="417"/>
                </a:cubicBezTo>
                <a:close/>
                <a:moveTo>
                  <a:pt x="198" y="353"/>
                </a:moveTo>
                <a:lnTo>
                  <a:pt x="198" y="353"/>
                </a:lnTo>
                <a:cubicBezTo>
                  <a:pt x="283" y="254"/>
                  <a:pt x="283" y="254"/>
                  <a:pt x="283" y="254"/>
                </a:cubicBezTo>
                <a:cubicBezTo>
                  <a:pt x="290" y="254"/>
                  <a:pt x="297" y="247"/>
                  <a:pt x="304" y="247"/>
                </a:cubicBezTo>
                <a:cubicBezTo>
                  <a:pt x="311" y="247"/>
                  <a:pt x="318" y="254"/>
                  <a:pt x="326" y="254"/>
                </a:cubicBezTo>
                <a:cubicBezTo>
                  <a:pt x="410" y="353"/>
                  <a:pt x="410" y="353"/>
                  <a:pt x="410" y="353"/>
                </a:cubicBezTo>
                <a:cubicBezTo>
                  <a:pt x="417" y="353"/>
                  <a:pt x="417" y="360"/>
                  <a:pt x="417" y="367"/>
                </a:cubicBezTo>
                <a:cubicBezTo>
                  <a:pt x="417" y="389"/>
                  <a:pt x="403" y="396"/>
                  <a:pt x="389" y="396"/>
                </a:cubicBezTo>
                <a:cubicBezTo>
                  <a:pt x="382" y="396"/>
                  <a:pt x="375" y="396"/>
                  <a:pt x="368" y="389"/>
                </a:cubicBezTo>
                <a:cubicBezTo>
                  <a:pt x="333" y="346"/>
                  <a:pt x="333" y="346"/>
                  <a:pt x="333" y="346"/>
                </a:cubicBezTo>
                <a:cubicBezTo>
                  <a:pt x="333" y="495"/>
                  <a:pt x="333" y="495"/>
                  <a:pt x="333" y="495"/>
                </a:cubicBezTo>
                <a:cubicBezTo>
                  <a:pt x="333" y="509"/>
                  <a:pt x="318" y="523"/>
                  <a:pt x="304" y="523"/>
                </a:cubicBezTo>
                <a:cubicBezTo>
                  <a:pt x="290" y="523"/>
                  <a:pt x="276" y="509"/>
                  <a:pt x="276" y="495"/>
                </a:cubicBezTo>
                <a:cubicBezTo>
                  <a:pt x="276" y="346"/>
                  <a:pt x="276" y="346"/>
                  <a:pt x="276" y="346"/>
                </a:cubicBezTo>
                <a:cubicBezTo>
                  <a:pt x="241" y="389"/>
                  <a:pt x="241" y="389"/>
                  <a:pt x="241" y="389"/>
                </a:cubicBezTo>
                <a:cubicBezTo>
                  <a:pt x="234" y="396"/>
                  <a:pt x="226" y="396"/>
                  <a:pt x="219" y="396"/>
                </a:cubicBezTo>
                <a:cubicBezTo>
                  <a:pt x="205" y="396"/>
                  <a:pt x="191" y="389"/>
                  <a:pt x="191" y="367"/>
                </a:cubicBezTo>
                <a:cubicBezTo>
                  <a:pt x="191" y="360"/>
                  <a:pt x="191" y="353"/>
                  <a:pt x="198" y="3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none" anchor="ctr"/>
          <a:lstStyle/>
          <a:p>
            <a:endParaRPr lang="en-US" sz="900" dirty="0">
              <a:cs typeface="等线" panose="02010600030101010101" charset="-122"/>
            </a:endParaRPr>
          </a:p>
        </p:txBody>
      </p:sp>
      <p:sp>
        <p:nvSpPr>
          <p:cNvPr id="14" name="Freeform 5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>
            <a:spLocks noChangeArrowheads="1"/>
          </p:cNvSpPr>
          <p:nvPr/>
        </p:nvSpPr>
        <p:spPr bwMode="auto">
          <a:xfrm rot="952564">
            <a:off x="9769352" y="6339700"/>
            <a:ext cx="614409" cy="614570"/>
          </a:xfrm>
          <a:custGeom>
            <a:avLst/>
            <a:gdLst>
              <a:gd name="T0" fmla="*/ 354 w 454"/>
              <a:gd name="T1" fmla="*/ 332 h 453"/>
              <a:gd name="T2" fmla="*/ 354 w 454"/>
              <a:gd name="T3" fmla="*/ 332 h 453"/>
              <a:gd name="T4" fmla="*/ 142 w 454"/>
              <a:gd name="T5" fmla="*/ 346 h 453"/>
              <a:gd name="T6" fmla="*/ 50 w 454"/>
              <a:gd name="T7" fmla="*/ 438 h 453"/>
              <a:gd name="T8" fmla="*/ 7 w 454"/>
              <a:gd name="T9" fmla="*/ 438 h 453"/>
              <a:gd name="T10" fmla="*/ 7 w 454"/>
              <a:gd name="T11" fmla="*/ 396 h 453"/>
              <a:gd name="T12" fmla="*/ 106 w 454"/>
              <a:gd name="T13" fmla="*/ 304 h 453"/>
              <a:gd name="T14" fmla="*/ 120 w 454"/>
              <a:gd name="T15" fmla="*/ 92 h 453"/>
              <a:gd name="T16" fmla="*/ 177 w 454"/>
              <a:gd name="T17" fmla="*/ 35 h 453"/>
              <a:gd name="T18" fmla="*/ 212 w 454"/>
              <a:gd name="T19" fmla="*/ 78 h 453"/>
              <a:gd name="T20" fmla="*/ 283 w 454"/>
              <a:gd name="T21" fmla="*/ 7 h 453"/>
              <a:gd name="T22" fmla="*/ 318 w 454"/>
              <a:gd name="T23" fmla="*/ 7 h 453"/>
              <a:gd name="T24" fmla="*/ 318 w 454"/>
              <a:gd name="T25" fmla="*/ 50 h 453"/>
              <a:gd name="T26" fmla="*/ 255 w 454"/>
              <a:gd name="T27" fmla="*/ 113 h 453"/>
              <a:gd name="T28" fmla="*/ 333 w 454"/>
              <a:gd name="T29" fmla="*/ 191 h 453"/>
              <a:gd name="T30" fmla="*/ 396 w 454"/>
              <a:gd name="T31" fmla="*/ 127 h 453"/>
              <a:gd name="T32" fmla="*/ 438 w 454"/>
              <a:gd name="T33" fmla="*/ 127 h 453"/>
              <a:gd name="T34" fmla="*/ 438 w 454"/>
              <a:gd name="T35" fmla="*/ 170 h 453"/>
              <a:gd name="T36" fmla="*/ 375 w 454"/>
              <a:gd name="T37" fmla="*/ 233 h 453"/>
              <a:gd name="T38" fmla="*/ 410 w 454"/>
              <a:gd name="T39" fmla="*/ 276 h 453"/>
              <a:gd name="T40" fmla="*/ 354 w 454"/>
              <a:gd name="T41" fmla="*/ 332 h 4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52" h="452">
                <a:moveTo>
                  <a:pt x="354" y="332"/>
                </a:moveTo>
                <a:lnTo>
                  <a:pt x="354" y="332"/>
                </a:lnTo>
                <a:cubicBezTo>
                  <a:pt x="297" y="389"/>
                  <a:pt x="205" y="396"/>
                  <a:pt x="142" y="346"/>
                </a:cubicBezTo>
                <a:cubicBezTo>
                  <a:pt x="50" y="438"/>
                  <a:pt x="50" y="438"/>
                  <a:pt x="50" y="438"/>
                </a:cubicBezTo>
                <a:cubicBezTo>
                  <a:pt x="36" y="452"/>
                  <a:pt x="22" y="452"/>
                  <a:pt x="7" y="438"/>
                </a:cubicBezTo>
                <a:cubicBezTo>
                  <a:pt x="0" y="431"/>
                  <a:pt x="0" y="410"/>
                  <a:pt x="7" y="396"/>
                </a:cubicBezTo>
                <a:cubicBezTo>
                  <a:pt x="106" y="304"/>
                  <a:pt x="106" y="304"/>
                  <a:pt x="106" y="304"/>
                </a:cubicBezTo>
                <a:cubicBezTo>
                  <a:pt x="57" y="240"/>
                  <a:pt x="57" y="148"/>
                  <a:pt x="120" y="92"/>
                </a:cubicBezTo>
                <a:cubicBezTo>
                  <a:pt x="177" y="35"/>
                  <a:pt x="177" y="35"/>
                  <a:pt x="177" y="35"/>
                </a:cubicBezTo>
                <a:cubicBezTo>
                  <a:pt x="212" y="78"/>
                  <a:pt x="212" y="78"/>
                  <a:pt x="212" y="78"/>
                </a:cubicBezTo>
                <a:cubicBezTo>
                  <a:pt x="283" y="7"/>
                  <a:pt x="283" y="7"/>
                  <a:pt x="283" y="7"/>
                </a:cubicBezTo>
                <a:cubicBezTo>
                  <a:pt x="290" y="0"/>
                  <a:pt x="311" y="0"/>
                  <a:pt x="318" y="7"/>
                </a:cubicBezTo>
                <a:cubicBezTo>
                  <a:pt x="333" y="21"/>
                  <a:pt x="333" y="35"/>
                  <a:pt x="318" y="50"/>
                </a:cubicBezTo>
                <a:cubicBezTo>
                  <a:pt x="255" y="113"/>
                  <a:pt x="255" y="113"/>
                  <a:pt x="255" y="113"/>
                </a:cubicBezTo>
                <a:cubicBezTo>
                  <a:pt x="333" y="191"/>
                  <a:pt x="333" y="191"/>
                  <a:pt x="333" y="191"/>
                </a:cubicBezTo>
                <a:cubicBezTo>
                  <a:pt x="396" y="127"/>
                  <a:pt x="396" y="127"/>
                  <a:pt x="396" y="127"/>
                </a:cubicBezTo>
                <a:cubicBezTo>
                  <a:pt x="410" y="120"/>
                  <a:pt x="431" y="120"/>
                  <a:pt x="438" y="127"/>
                </a:cubicBezTo>
                <a:cubicBezTo>
                  <a:pt x="453" y="141"/>
                  <a:pt x="453" y="155"/>
                  <a:pt x="438" y="170"/>
                </a:cubicBezTo>
                <a:cubicBezTo>
                  <a:pt x="375" y="233"/>
                  <a:pt x="375" y="233"/>
                  <a:pt x="375" y="233"/>
                </a:cubicBezTo>
                <a:cubicBezTo>
                  <a:pt x="410" y="276"/>
                  <a:pt x="410" y="276"/>
                  <a:pt x="410" y="276"/>
                </a:cubicBezTo>
                <a:lnTo>
                  <a:pt x="354" y="332"/>
                </a:ln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900" dirty="0">
              <a:cs typeface="等线" panose="02010600030101010101" charset="-122"/>
            </a:endParaRPr>
          </a:p>
        </p:txBody>
      </p:sp>
      <p:sp>
        <p:nvSpPr>
          <p:cNvPr id="15" name="Textfeld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rot="952564">
            <a:off x="9088589" y="5908105"/>
            <a:ext cx="2451297" cy="397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500" dirty="0">
                <a:solidFill>
                  <a:schemeClr val="accent1"/>
                </a:solidFill>
                <a:latin typeface="微软雅黑" panose="020B0503020204020204" pitchFamily="34" charset="-122"/>
                <a:cs typeface="等线" panose="02010600030101010101" charset="-122"/>
              </a:rPr>
              <a:t>TITLE TWO</a:t>
            </a:r>
          </a:p>
        </p:txBody>
      </p:sp>
      <p:sp>
        <p:nvSpPr>
          <p:cNvPr id="16" name="Textfeld 2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rot="952564">
            <a:off x="10311837" y="1757975"/>
            <a:ext cx="2451297" cy="3978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500" dirty="0">
                <a:solidFill>
                  <a:schemeClr val="accent1"/>
                </a:solidFill>
                <a:latin typeface="微软雅黑" panose="020B0503020204020204" pitchFamily="34" charset="-122"/>
                <a:cs typeface="等线" panose="02010600030101010101" charset="-122"/>
              </a:rPr>
              <a:t>TITLE FOUR</a:t>
            </a:r>
          </a:p>
        </p:txBody>
      </p:sp>
      <p:sp>
        <p:nvSpPr>
          <p:cNvPr id="21" name="Rectangle 4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15448" y="3081866"/>
            <a:ext cx="45719" cy="86148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solidFill>
                <a:schemeClr val="tx1"/>
              </a:solidFill>
              <a:cs typeface="等线" panose="02010600030101010101" charset="-122"/>
            </a:endParaRPr>
          </a:p>
        </p:txBody>
      </p:sp>
      <p:sp>
        <p:nvSpPr>
          <p:cNvPr id="22" name="TextBox 4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95811" y="1260193"/>
            <a:ext cx="4746812" cy="1175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id-ID" sz="4400" dirty="0">
                <a:cs typeface="等线" panose="02010600030101010101" charset="-122"/>
              </a:rPr>
              <a:t>Creative </a:t>
            </a:r>
          </a:p>
          <a:p>
            <a:pPr>
              <a:lnSpc>
                <a:spcPct val="80000"/>
              </a:lnSpc>
            </a:pPr>
            <a:r>
              <a:rPr lang="id-ID" sz="4400" dirty="0">
                <a:cs typeface="等线" panose="02010600030101010101" charset="-122"/>
              </a:rPr>
              <a:t>Infographic Slide</a:t>
            </a:r>
          </a:p>
        </p:txBody>
      </p:sp>
      <p:sp>
        <p:nvSpPr>
          <p:cNvPr id="23" name="TextBox 1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flipH="1">
            <a:off x="1150844" y="3100685"/>
            <a:ext cx="441175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5000"/>
              </a:lnSpc>
            </a:pPr>
            <a:r>
              <a:rPr lang="en-US" sz="1200" dirty="0">
                <a:cs typeface="+mn-ea"/>
                <a:sym typeface="+mn-lt"/>
              </a:rPr>
              <a:t>This is a sample text. insert your desired text here. Again. this is a dummy text. enter your own text here. This is a sample text. insert your desired text here. Again. this is a dummy text. enter your own text here. .</a:t>
            </a:r>
          </a:p>
        </p:txBody>
      </p:sp>
      <p:grpSp>
        <p:nvGrpSpPr>
          <p:cNvPr id="24" name="组合 2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893884" y="4231415"/>
            <a:ext cx="1043354" cy="151549"/>
            <a:chOff x="1160584" y="2878015"/>
            <a:chExt cx="2098430" cy="304800"/>
          </a:xfrm>
        </p:grpSpPr>
        <p:sp>
          <p:nvSpPr>
            <p:cNvPr id="25" name="五角星 24"/>
            <p:cNvSpPr/>
            <p:nvPr/>
          </p:nvSpPr>
          <p:spPr>
            <a:xfrm>
              <a:off x="1160584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solidFill>
              <a:srgbClr val="01B7F9"/>
            </a:solidFill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cs typeface="等线" panose="02010600030101010101" charset="-122"/>
              </a:endParaRPr>
            </a:p>
          </p:txBody>
        </p:sp>
        <p:sp>
          <p:nvSpPr>
            <p:cNvPr id="26" name="五角星 25"/>
            <p:cNvSpPr/>
            <p:nvPr/>
          </p:nvSpPr>
          <p:spPr>
            <a:xfrm>
              <a:off x="1608991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solidFill>
              <a:srgbClr val="01B7F9"/>
            </a:solidFill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cs typeface="等线" panose="02010600030101010101" charset="-122"/>
              </a:endParaRPr>
            </a:p>
          </p:txBody>
        </p:sp>
        <p:sp>
          <p:nvSpPr>
            <p:cNvPr id="27" name="五角星 26"/>
            <p:cNvSpPr/>
            <p:nvPr/>
          </p:nvSpPr>
          <p:spPr>
            <a:xfrm>
              <a:off x="2057398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solidFill>
              <a:srgbClr val="01B7F9"/>
            </a:solidFill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cs typeface="等线" panose="02010600030101010101" charset="-122"/>
              </a:endParaRPr>
            </a:p>
          </p:txBody>
        </p:sp>
        <p:sp>
          <p:nvSpPr>
            <p:cNvPr id="28" name="五角星 27"/>
            <p:cNvSpPr/>
            <p:nvPr/>
          </p:nvSpPr>
          <p:spPr>
            <a:xfrm>
              <a:off x="2505806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noFill/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cs typeface="等线" panose="02010600030101010101" charset="-122"/>
              </a:endParaRPr>
            </a:p>
          </p:txBody>
        </p:sp>
        <p:sp>
          <p:nvSpPr>
            <p:cNvPr id="29" name="五角星 28"/>
            <p:cNvSpPr/>
            <p:nvPr/>
          </p:nvSpPr>
          <p:spPr>
            <a:xfrm>
              <a:off x="2954214" y="2878015"/>
              <a:ext cx="304800" cy="304800"/>
            </a:xfrm>
            <a:prstGeom prst="star5">
              <a:avLst>
                <a:gd name="adj" fmla="val 26056"/>
                <a:gd name="hf" fmla="val 105146"/>
                <a:gd name="vf" fmla="val 110557"/>
              </a:avLst>
            </a:prstGeom>
            <a:noFill/>
            <a:ln w="22225">
              <a:solidFill>
                <a:srgbClr val="01B7F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cs typeface="等线" panose="02010600030101010101" charset="-122"/>
              </a:endParaRPr>
            </a:p>
          </p:txBody>
        </p:sp>
      </p:grpSp>
      <p:grpSp>
        <p:nvGrpSpPr>
          <p:cNvPr id="30" name="Group 4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670711" y="4744484"/>
            <a:ext cx="3041966" cy="901353"/>
            <a:chOff x="145142" y="4099666"/>
            <a:chExt cx="2539273" cy="901353"/>
          </a:xfrm>
        </p:grpSpPr>
        <p:sp>
          <p:nvSpPr>
            <p:cNvPr id="31" name="TextBox 45"/>
            <p:cNvSpPr txBox="1"/>
            <p:nvPr/>
          </p:nvSpPr>
          <p:spPr>
            <a:xfrm>
              <a:off x="145143" y="4317434"/>
              <a:ext cx="2394128" cy="6835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id-ID" sz="1100" b="1" dirty="0">
                  <a:cs typeface="+mn-ea"/>
                  <a:sym typeface="+mn-lt"/>
                </a:rPr>
                <a:t>lorem ipsum</a:t>
              </a:r>
              <a:r>
                <a:rPr lang="id-ID" sz="1100" dirty="0">
                  <a:cs typeface="+mn-ea"/>
                  <a:sym typeface="+mn-lt"/>
                </a:rPr>
                <a:t>, quia dolor sit, amet, consectetur, adipiscivelit, se</a:t>
              </a:r>
            </a:p>
          </p:txBody>
        </p:sp>
        <p:sp>
          <p:nvSpPr>
            <p:cNvPr id="32" name="TextBox 46"/>
            <p:cNvSpPr txBox="1"/>
            <p:nvPr/>
          </p:nvSpPr>
          <p:spPr>
            <a:xfrm>
              <a:off x="145142" y="4099666"/>
              <a:ext cx="253927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cs typeface="+mn-ea"/>
                  <a:sym typeface="+mn-lt"/>
                </a:rPr>
                <a:t>WORLD CLASS STYLE</a:t>
              </a:r>
              <a:endParaRPr lang="id-ID" sz="1400" b="1">
                <a:cs typeface="+mn-ea"/>
                <a:sym typeface="+mn-lt"/>
              </a:endParaRPr>
            </a:p>
          </p:txBody>
        </p:sp>
      </p:grpSp>
      <p:sp>
        <p:nvSpPr>
          <p:cNvPr id="33" name="AutoShape 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 bwMode="auto">
          <a:xfrm>
            <a:off x="996028" y="4808833"/>
            <a:ext cx="536529" cy="538424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7428" y="17466"/>
                </a:moveTo>
                <a:cubicBezTo>
                  <a:pt x="16669" y="16923"/>
                  <a:pt x="15846" y="16465"/>
                  <a:pt x="14963" y="16121"/>
                </a:cubicBezTo>
                <a:cubicBezTo>
                  <a:pt x="15595" y="14609"/>
                  <a:pt x="15967" y="12928"/>
                  <a:pt x="16010" y="11148"/>
                </a:cubicBezTo>
                <a:lnTo>
                  <a:pt x="20188" y="11148"/>
                </a:lnTo>
                <a:cubicBezTo>
                  <a:pt x="20097" y="13612"/>
                  <a:pt x="19065" y="15838"/>
                  <a:pt x="17428" y="17466"/>
                </a:cubicBezTo>
                <a:moveTo>
                  <a:pt x="1411" y="11148"/>
                </a:moveTo>
                <a:lnTo>
                  <a:pt x="5589" y="11148"/>
                </a:lnTo>
                <a:cubicBezTo>
                  <a:pt x="5632" y="12928"/>
                  <a:pt x="6004" y="14609"/>
                  <a:pt x="6636" y="16121"/>
                </a:cubicBezTo>
                <a:cubicBezTo>
                  <a:pt x="5753" y="16465"/>
                  <a:pt x="4931" y="16923"/>
                  <a:pt x="4171" y="17466"/>
                </a:cubicBezTo>
                <a:cubicBezTo>
                  <a:pt x="2534" y="15838"/>
                  <a:pt x="1502" y="13612"/>
                  <a:pt x="1411" y="11148"/>
                </a:cubicBezTo>
                <a:moveTo>
                  <a:pt x="3785" y="4553"/>
                </a:moveTo>
                <a:cubicBezTo>
                  <a:pt x="4579" y="5170"/>
                  <a:pt x="5448" y="5691"/>
                  <a:pt x="6388" y="6084"/>
                </a:cubicBezTo>
                <a:cubicBezTo>
                  <a:pt x="5901" y="7433"/>
                  <a:pt x="5627" y="8908"/>
                  <a:pt x="5589" y="10451"/>
                </a:cubicBezTo>
                <a:lnTo>
                  <a:pt x="1411" y="10451"/>
                </a:lnTo>
                <a:cubicBezTo>
                  <a:pt x="1494" y="8190"/>
                  <a:pt x="2376" y="6135"/>
                  <a:pt x="3785" y="4553"/>
                </a:cubicBezTo>
                <a:moveTo>
                  <a:pt x="11148" y="10451"/>
                </a:moveTo>
                <a:lnTo>
                  <a:pt x="11148" y="6950"/>
                </a:lnTo>
                <a:cubicBezTo>
                  <a:pt x="12339" y="6913"/>
                  <a:pt x="13484" y="6696"/>
                  <a:pt x="14558" y="6324"/>
                </a:cubicBezTo>
                <a:cubicBezTo>
                  <a:pt x="15018" y="7598"/>
                  <a:pt x="15276" y="8992"/>
                  <a:pt x="15314" y="10451"/>
                </a:cubicBezTo>
                <a:cubicBezTo>
                  <a:pt x="15314" y="10451"/>
                  <a:pt x="11148" y="10451"/>
                  <a:pt x="11148" y="10451"/>
                </a:cubicBezTo>
                <a:close/>
                <a:moveTo>
                  <a:pt x="14311" y="15882"/>
                </a:moveTo>
                <a:cubicBezTo>
                  <a:pt x="13309" y="15559"/>
                  <a:pt x="12247" y="15380"/>
                  <a:pt x="11148" y="15346"/>
                </a:cubicBezTo>
                <a:lnTo>
                  <a:pt x="11148" y="11148"/>
                </a:lnTo>
                <a:lnTo>
                  <a:pt x="15314" y="11148"/>
                </a:lnTo>
                <a:cubicBezTo>
                  <a:pt x="15270" y="12844"/>
                  <a:pt x="14914" y="14445"/>
                  <a:pt x="14311" y="15882"/>
                </a:cubicBezTo>
                <a:moveTo>
                  <a:pt x="14683" y="16757"/>
                </a:moveTo>
                <a:cubicBezTo>
                  <a:pt x="15476" y="17063"/>
                  <a:pt x="16218" y="17466"/>
                  <a:pt x="16904" y="17941"/>
                </a:cubicBezTo>
                <a:cubicBezTo>
                  <a:pt x="15632" y="19031"/>
                  <a:pt x="14067" y="19781"/>
                  <a:pt x="12344" y="20068"/>
                </a:cubicBezTo>
                <a:cubicBezTo>
                  <a:pt x="13280" y="19136"/>
                  <a:pt x="14076" y="18017"/>
                  <a:pt x="14683" y="16757"/>
                </a:cubicBezTo>
                <a:moveTo>
                  <a:pt x="11148" y="20188"/>
                </a:moveTo>
                <a:lnTo>
                  <a:pt x="11148" y="16043"/>
                </a:lnTo>
                <a:cubicBezTo>
                  <a:pt x="12146" y="16075"/>
                  <a:pt x="13113" y="16231"/>
                  <a:pt x="14025" y="16516"/>
                </a:cubicBezTo>
                <a:cubicBezTo>
                  <a:pt x="13314" y="17970"/>
                  <a:pt x="12343" y="19223"/>
                  <a:pt x="11185" y="20186"/>
                </a:cubicBezTo>
                <a:cubicBezTo>
                  <a:pt x="11185" y="20186"/>
                  <a:pt x="11148" y="20188"/>
                  <a:pt x="11148" y="20188"/>
                </a:cubicBezTo>
                <a:close/>
                <a:moveTo>
                  <a:pt x="9255" y="20068"/>
                </a:moveTo>
                <a:cubicBezTo>
                  <a:pt x="7532" y="19781"/>
                  <a:pt x="5967" y="19031"/>
                  <a:pt x="4695" y="17941"/>
                </a:cubicBezTo>
                <a:cubicBezTo>
                  <a:pt x="5381" y="17466"/>
                  <a:pt x="6123" y="17063"/>
                  <a:pt x="6916" y="16757"/>
                </a:cubicBezTo>
                <a:cubicBezTo>
                  <a:pt x="7523" y="18017"/>
                  <a:pt x="8319" y="19136"/>
                  <a:pt x="9255" y="20068"/>
                </a:cubicBezTo>
                <a:moveTo>
                  <a:pt x="10451" y="11148"/>
                </a:moveTo>
                <a:lnTo>
                  <a:pt x="10451" y="15346"/>
                </a:lnTo>
                <a:cubicBezTo>
                  <a:pt x="9352" y="15380"/>
                  <a:pt x="8290" y="15559"/>
                  <a:pt x="7288" y="15882"/>
                </a:cubicBezTo>
                <a:cubicBezTo>
                  <a:pt x="6685" y="14445"/>
                  <a:pt x="6329" y="12844"/>
                  <a:pt x="6285" y="11148"/>
                </a:cubicBezTo>
                <a:cubicBezTo>
                  <a:pt x="6285" y="11148"/>
                  <a:pt x="10451" y="11148"/>
                  <a:pt x="10451" y="11148"/>
                </a:cubicBezTo>
                <a:close/>
                <a:moveTo>
                  <a:pt x="7041" y="6324"/>
                </a:moveTo>
                <a:cubicBezTo>
                  <a:pt x="8115" y="6696"/>
                  <a:pt x="9260" y="6913"/>
                  <a:pt x="10451" y="6950"/>
                </a:cubicBezTo>
                <a:lnTo>
                  <a:pt x="10451" y="10451"/>
                </a:lnTo>
                <a:lnTo>
                  <a:pt x="6285" y="10451"/>
                </a:lnTo>
                <a:cubicBezTo>
                  <a:pt x="6324" y="8992"/>
                  <a:pt x="6581" y="7598"/>
                  <a:pt x="7041" y="6324"/>
                </a:cubicBezTo>
                <a:moveTo>
                  <a:pt x="6651" y="5442"/>
                </a:moveTo>
                <a:cubicBezTo>
                  <a:pt x="5790" y="5084"/>
                  <a:pt x="4993" y="4609"/>
                  <a:pt x="4263" y="4050"/>
                </a:cubicBezTo>
                <a:cubicBezTo>
                  <a:pt x="5606" y="2749"/>
                  <a:pt x="7332" y="1851"/>
                  <a:pt x="9255" y="1531"/>
                </a:cubicBezTo>
                <a:cubicBezTo>
                  <a:pt x="8175" y="2610"/>
                  <a:pt x="7286" y="3939"/>
                  <a:pt x="6651" y="5442"/>
                </a:cubicBezTo>
                <a:moveTo>
                  <a:pt x="10451" y="1411"/>
                </a:moveTo>
                <a:lnTo>
                  <a:pt x="10451" y="6253"/>
                </a:lnTo>
                <a:cubicBezTo>
                  <a:pt x="9352" y="6217"/>
                  <a:pt x="8296" y="6021"/>
                  <a:pt x="7303" y="5681"/>
                </a:cubicBezTo>
                <a:cubicBezTo>
                  <a:pt x="8029" y="3972"/>
                  <a:pt x="9101" y="2507"/>
                  <a:pt x="10415" y="1413"/>
                </a:cubicBezTo>
                <a:cubicBezTo>
                  <a:pt x="10427" y="1412"/>
                  <a:pt x="10439" y="1411"/>
                  <a:pt x="10451" y="1411"/>
                </a:cubicBezTo>
                <a:moveTo>
                  <a:pt x="12344" y="1531"/>
                </a:moveTo>
                <a:cubicBezTo>
                  <a:pt x="14267" y="1851"/>
                  <a:pt x="15993" y="2749"/>
                  <a:pt x="17336" y="4050"/>
                </a:cubicBezTo>
                <a:cubicBezTo>
                  <a:pt x="16606" y="4609"/>
                  <a:pt x="15809" y="5084"/>
                  <a:pt x="14948" y="5442"/>
                </a:cubicBezTo>
                <a:cubicBezTo>
                  <a:pt x="14313" y="3939"/>
                  <a:pt x="13424" y="2610"/>
                  <a:pt x="12344" y="1531"/>
                </a:cubicBezTo>
                <a:moveTo>
                  <a:pt x="11184" y="1413"/>
                </a:moveTo>
                <a:cubicBezTo>
                  <a:pt x="12498" y="2507"/>
                  <a:pt x="13570" y="3972"/>
                  <a:pt x="14296" y="5681"/>
                </a:cubicBezTo>
                <a:cubicBezTo>
                  <a:pt x="13303" y="6021"/>
                  <a:pt x="12247" y="6217"/>
                  <a:pt x="11148" y="6253"/>
                </a:cubicBezTo>
                <a:lnTo>
                  <a:pt x="11148" y="1411"/>
                </a:lnTo>
                <a:cubicBezTo>
                  <a:pt x="11160" y="1411"/>
                  <a:pt x="11172" y="1412"/>
                  <a:pt x="11184" y="1413"/>
                </a:cubicBezTo>
                <a:moveTo>
                  <a:pt x="10414" y="20186"/>
                </a:moveTo>
                <a:cubicBezTo>
                  <a:pt x="9256" y="19223"/>
                  <a:pt x="8285" y="17970"/>
                  <a:pt x="7574" y="16516"/>
                </a:cubicBezTo>
                <a:cubicBezTo>
                  <a:pt x="8486" y="16231"/>
                  <a:pt x="9453" y="16075"/>
                  <a:pt x="10451" y="16043"/>
                </a:cubicBezTo>
                <a:lnTo>
                  <a:pt x="10451" y="20188"/>
                </a:lnTo>
                <a:cubicBezTo>
                  <a:pt x="10451" y="20188"/>
                  <a:pt x="10414" y="20186"/>
                  <a:pt x="10414" y="20186"/>
                </a:cubicBezTo>
                <a:close/>
                <a:moveTo>
                  <a:pt x="20188" y="10451"/>
                </a:moveTo>
                <a:lnTo>
                  <a:pt x="16010" y="10451"/>
                </a:lnTo>
                <a:cubicBezTo>
                  <a:pt x="15972" y="8908"/>
                  <a:pt x="15698" y="7433"/>
                  <a:pt x="15211" y="6084"/>
                </a:cubicBezTo>
                <a:cubicBezTo>
                  <a:pt x="16151" y="5691"/>
                  <a:pt x="17020" y="5170"/>
                  <a:pt x="17814" y="4553"/>
                </a:cubicBezTo>
                <a:cubicBezTo>
                  <a:pt x="19223" y="6135"/>
                  <a:pt x="20105" y="8190"/>
                  <a:pt x="20188" y="10451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4" y="21600"/>
                  <a:pt x="21600" y="1676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lIns="19050" tIns="19050" rIns="19050" bIns="19050" anchor="ctr"/>
          <a:lstStyle/>
          <a:p>
            <a:pPr algn="ctr" defTabSz="228600" fontAlgn="base" hangingPunct="0">
              <a:spcBef>
                <a:spcPct val="0"/>
              </a:spcBef>
              <a:spcAft>
                <a:spcPct val="0"/>
              </a:spcAft>
            </a:pPr>
            <a:endParaRPr lang="en-US" sz="1500">
              <a:effectLst>
                <a:outerShdw blurRad="38100" dist="38100" dir="2700000" algn="tl">
                  <a:srgbClr val="000000"/>
                </a:outerShdw>
              </a:effectLst>
              <a:cs typeface="+mn-ea"/>
              <a:sym typeface="+mn-lt"/>
            </a:endParaRPr>
          </a:p>
        </p:txBody>
      </p:sp>
      <p:grpSp>
        <p:nvGrpSpPr>
          <p:cNvPr id="34" name="组合 3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933581" y="2582451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35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36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pic>
        <p:nvPicPr>
          <p:cNvPr id="37" name="Picture 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33046" y="175845"/>
            <a:ext cx="1704852" cy="1301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PicPr>
            <a:picLocks noChangeAspect="1"/>
          </p:cNvPicPr>
          <p:nvPr/>
        </p:nvPicPr>
        <p:blipFill>
          <a:blip r:embed="rId3">
            <a:lum bright="-20000" contrast="-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825" y="1265228"/>
            <a:ext cx="4817448" cy="4851413"/>
          </a:xfrm>
          <a:prstGeom prst="rect">
            <a:avLst/>
          </a:prstGeom>
        </p:spPr>
      </p:pic>
      <p:sp>
        <p:nvSpPr>
          <p:cNvPr id="9" name="Shape 138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1262856" y="6350352"/>
            <a:ext cx="182742" cy="189796"/>
          </a:xfrm>
          <a:prstGeom prst="rect">
            <a:avLst/>
          </a:prstGeom>
          <a:ln w="12700">
            <a:miter lim="400000"/>
          </a:ln>
        </p:spPr>
        <p:txBody>
          <a:bodyPr wrap="none" lIns="25400" tIns="25400" rIns="25400" bIns="25400" anchor="ctr">
            <a:spAutoFit/>
          </a:bodyPr>
          <a:lstStyle>
            <a:lvl1pPr>
              <a:defRPr sz="2400" b="1">
                <a:solidFill>
                  <a:srgbClr val="444444"/>
                </a:solidFill>
                <a:latin typeface="Open Sans" panose="020B0606030504020204"/>
                <a:ea typeface="Open Sans" panose="020B0606030504020204"/>
                <a:cs typeface="Open Sans" panose="020B0606030504020204"/>
                <a:sym typeface="Open Sans" panose="020B0606030504020204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9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05</a:t>
            </a:r>
          </a:p>
        </p:txBody>
      </p:sp>
      <p:sp>
        <p:nvSpPr>
          <p:cNvPr id="10" name="TextBox 1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915244" y="2405432"/>
            <a:ext cx="4501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0" b="1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COMPANY STYLE</a:t>
            </a:r>
          </a:p>
        </p:txBody>
      </p:sp>
      <p:sp>
        <p:nvSpPr>
          <p:cNvPr id="11" name="TextBox 1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886668" y="2771847"/>
            <a:ext cx="4283336" cy="50276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id-ID" sz="1465" b="1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Lorem ipsum </a:t>
            </a:r>
            <a:r>
              <a:rPr lang="id-ID" sz="120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dolor sit amet consectetuer adipiscing elit, sed diam nonummy nibh euismod tincidunt ut</a:t>
            </a:r>
            <a:endParaRPr lang="en-US" sz="1200">
              <a:solidFill>
                <a:schemeClr val="tx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2" name="TextBox 1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923303" y="3437854"/>
            <a:ext cx="4501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0" b="1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201</a:t>
            </a:r>
            <a:r>
              <a:rPr lang="en-US" sz="2000" b="1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9</a:t>
            </a:r>
            <a:r>
              <a:rPr lang="id-ID" sz="2000" b="1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 PROJECT PLANNING</a:t>
            </a:r>
          </a:p>
        </p:txBody>
      </p:sp>
      <p:sp>
        <p:nvSpPr>
          <p:cNvPr id="13" name="TextBox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923302" y="3785219"/>
            <a:ext cx="4283336" cy="50276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id-ID" sz="1465" b="1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Lorem ipsum </a:t>
            </a:r>
            <a:r>
              <a:rPr lang="id-ID" sz="120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dolor sit amet consectetuer adipiscing elit, sed diam nonummy nibh euismod tincidunt ut</a:t>
            </a:r>
            <a:endParaRPr lang="en-US" sz="1200">
              <a:solidFill>
                <a:schemeClr val="tx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4" name="TextBox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904253" y="4458186"/>
            <a:ext cx="45010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d-ID" sz="2000" b="1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KEY OF SUCCESS</a:t>
            </a:r>
          </a:p>
        </p:txBody>
      </p:sp>
      <p:sp>
        <p:nvSpPr>
          <p:cNvPr id="15" name="TextBox 17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904252" y="4805551"/>
            <a:ext cx="4283336" cy="502766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id-ID" sz="1465" b="1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Lorem ipsum </a:t>
            </a:r>
            <a:r>
              <a:rPr lang="id-ID" sz="1200">
                <a:solidFill>
                  <a:schemeClr val="tx2">
                    <a:lumMod val="75000"/>
                  </a:schemeClr>
                </a:solidFill>
                <a:cs typeface="+mn-ea"/>
                <a:sym typeface="+mn-lt"/>
              </a:rPr>
              <a:t>dolor sit amet consectetuer adipiscing elit, sed diam nonummy nibh euismod tincidunt ut</a:t>
            </a:r>
            <a:endParaRPr lang="en-US" sz="1200">
              <a:solidFill>
                <a:schemeClr val="tx2">
                  <a:lumMod val="7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6" name="文本框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 flipH="1">
            <a:off x="6610641" y="621323"/>
            <a:ext cx="467868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600" b="1" dirty="0">
                <a:solidFill>
                  <a:schemeClr val="bg1"/>
                </a:solidFill>
                <a:cs typeface="等线" panose="02010600030101010101" charset="-122"/>
              </a:rPr>
              <a:t>ABOUT US</a:t>
            </a:r>
          </a:p>
        </p:txBody>
      </p:sp>
      <p:sp>
        <p:nvSpPr>
          <p:cNvPr id="18" name="TextBox 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6398353" y="1073839"/>
            <a:ext cx="457689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600">
                <a:gradFill flip="none" rotWithShape="1">
                  <a:gsLst>
                    <a:gs pos="95683">
                      <a:schemeClr val="accent6"/>
                    </a:gs>
                    <a:gs pos="0">
                      <a:schemeClr val="accent2"/>
                    </a:gs>
                  </a:gsLst>
                  <a:path path="circle">
                    <a:fillToRect l="100000" t="100000"/>
                  </a:path>
                  <a:tileRect r="-100000" b="-100000"/>
                </a:gradFill>
                <a:cs typeface="+mn-ea"/>
                <a:sym typeface="+mn-lt"/>
              </a:rPr>
              <a:t> Creative Template </a:t>
            </a:r>
          </a:p>
        </p:txBody>
      </p:sp>
      <p:sp>
        <p:nvSpPr>
          <p:cNvPr id="19" name="Rectangle: Rounded Corners 2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946844" y="5767240"/>
            <a:ext cx="1402161" cy="382372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787400" dist="101600" dir="5400000" sx="80000" sy="80000" algn="t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d-ID" sz="1200" dirty="0">
                <a:solidFill>
                  <a:schemeClr val="tx2"/>
                </a:solidFill>
                <a:cs typeface="等线" panose="02010600030101010101" charset="-122"/>
              </a:rPr>
              <a:t>Read Here</a:t>
            </a:r>
          </a:p>
        </p:txBody>
      </p:sp>
      <p:sp>
        <p:nvSpPr>
          <p:cNvPr id="24" name="Shape 31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5016016" y="844083"/>
            <a:ext cx="4833381" cy="359073"/>
          </a:xfrm>
          <a:prstGeom prst="rect">
            <a:avLst/>
          </a:prstGeom>
          <a:ln w="12700">
            <a:miter lim="400000"/>
          </a:ln>
        </p:spPr>
        <p:txBody>
          <a:bodyPr wrap="square" lIns="25400" tIns="25400" rIns="25400" bIns="25400" anchor="ctr">
            <a:spAutoFit/>
          </a:bodyPr>
          <a:lstStyle>
            <a:lvl1pPr algn="l">
              <a:defRPr sz="4000" b="1">
                <a:solidFill>
                  <a:srgbClr val="232323"/>
                </a:solidFill>
                <a:latin typeface="Open Sans Light" panose="020B0306030504020204"/>
                <a:ea typeface="Open Sans Light" panose="020B0306030504020204"/>
                <a:cs typeface="Open Sans Light" panose="020B0306030504020204"/>
                <a:sym typeface="Open Sans Light" panose="020B0306030504020204"/>
              </a:defRPr>
            </a:lvl1pPr>
          </a:lstStyle>
          <a:p>
            <a:pPr lvl="0" algn="ctr">
              <a:defRPr sz="1800" b="0">
                <a:solidFill>
                  <a:srgbClr val="000000"/>
                </a:solidFill>
              </a:defRPr>
            </a:pPr>
            <a:r>
              <a:rPr sz="2000" dirty="0">
                <a:solidFill>
                  <a:schemeClr val="tx2"/>
                </a:solidFill>
                <a:latin typeface="+mn-lt"/>
                <a:ea typeface="微软雅黑" panose="020B0503020204020204" pitchFamily="34" charset="-122"/>
                <a:cs typeface="等线" panose="02010600030101010101" charset="-122"/>
                <a:sym typeface="等线"/>
              </a:rPr>
              <a:t>What We Do</a:t>
            </a:r>
          </a:p>
        </p:txBody>
      </p:sp>
      <p:grpSp>
        <p:nvGrpSpPr>
          <p:cNvPr id="25" name="组合 2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929934" y="1808728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26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28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29" name="Shape 508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408269" y="4574039"/>
            <a:ext cx="347806" cy="358941"/>
          </a:xfrm>
          <a:custGeom>
            <a:avLst/>
            <a:gdLst/>
            <a:ahLst/>
            <a:cxnLst/>
            <a:rect l="0" t="0" r="0" b="0"/>
            <a:pathLst>
              <a:path w="119999" h="119999" extrusionOk="0">
                <a:moveTo>
                  <a:pt x="67027" y="87532"/>
                </a:moveTo>
                <a:lnTo>
                  <a:pt x="67027" y="87532"/>
                </a:lnTo>
                <a:cubicBezTo>
                  <a:pt x="67027" y="78441"/>
                  <a:pt x="74324" y="73506"/>
                  <a:pt x="86486" y="66753"/>
                </a:cubicBezTo>
                <a:cubicBezTo>
                  <a:pt x="100810" y="57402"/>
                  <a:pt x="119729" y="45974"/>
                  <a:pt x="119729" y="18441"/>
                </a:cubicBezTo>
                <a:cubicBezTo>
                  <a:pt x="119729" y="16103"/>
                  <a:pt x="117297" y="13766"/>
                  <a:pt x="115135" y="13766"/>
                </a:cubicBezTo>
                <a:cubicBezTo>
                  <a:pt x="93513" y="13766"/>
                  <a:pt x="93513" y="13766"/>
                  <a:pt x="93513" y="13766"/>
                </a:cubicBezTo>
                <a:cubicBezTo>
                  <a:pt x="88648" y="7012"/>
                  <a:pt x="79189" y="0"/>
                  <a:pt x="60000" y="0"/>
                </a:cubicBezTo>
                <a:cubicBezTo>
                  <a:pt x="40810" y="0"/>
                  <a:pt x="31351" y="7012"/>
                  <a:pt x="26486" y="13766"/>
                </a:cubicBezTo>
                <a:cubicBezTo>
                  <a:pt x="4864" y="13766"/>
                  <a:pt x="4864" y="13766"/>
                  <a:pt x="4864" y="13766"/>
                </a:cubicBezTo>
                <a:cubicBezTo>
                  <a:pt x="2432" y="13766"/>
                  <a:pt x="0" y="16103"/>
                  <a:pt x="0" y="18441"/>
                </a:cubicBezTo>
                <a:cubicBezTo>
                  <a:pt x="0" y="45974"/>
                  <a:pt x="16756" y="57402"/>
                  <a:pt x="33513" y="66753"/>
                </a:cubicBezTo>
                <a:cubicBezTo>
                  <a:pt x="45675" y="73506"/>
                  <a:pt x="52702" y="78441"/>
                  <a:pt x="52702" y="87532"/>
                </a:cubicBezTo>
                <a:cubicBezTo>
                  <a:pt x="52702" y="96623"/>
                  <a:pt x="52702" y="96623"/>
                  <a:pt x="52702" y="96623"/>
                </a:cubicBezTo>
                <a:cubicBezTo>
                  <a:pt x="38378" y="98961"/>
                  <a:pt x="28918" y="103636"/>
                  <a:pt x="28918" y="108051"/>
                </a:cubicBezTo>
                <a:cubicBezTo>
                  <a:pt x="28918" y="115064"/>
                  <a:pt x="43243" y="119740"/>
                  <a:pt x="60000" y="119740"/>
                </a:cubicBezTo>
                <a:cubicBezTo>
                  <a:pt x="76486" y="119740"/>
                  <a:pt x="88648" y="115064"/>
                  <a:pt x="88648" y="108051"/>
                </a:cubicBezTo>
                <a:cubicBezTo>
                  <a:pt x="88648" y="103636"/>
                  <a:pt x="81621" y="98961"/>
                  <a:pt x="67027" y="96623"/>
                </a:cubicBezTo>
                <a:lnTo>
                  <a:pt x="67027" y="87532"/>
                </a:lnTo>
                <a:close/>
                <a:moveTo>
                  <a:pt x="86486" y="55064"/>
                </a:moveTo>
                <a:lnTo>
                  <a:pt x="86486" y="55064"/>
                </a:lnTo>
                <a:cubicBezTo>
                  <a:pt x="91081" y="48311"/>
                  <a:pt x="93513" y="36883"/>
                  <a:pt x="93513" y="23116"/>
                </a:cubicBezTo>
                <a:cubicBezTo>
                  <a:pt x="110270" y="23116"/>
                  <a:pt x="110270" y="23116"/>
                  <a:pt x="110270" y="23116"/>
                </a:cubicBezTo>
                <a:cubicBezTo>
                  <a:pt x="107837" y="39220"/>
                  <a:pt x="98378" y="48311"/>
                  <a:pt x="86486" y="55064"/>
                </a:cubicBezTo>
                <a:close/>
                <a:moveTo>
                  <a:pt x="60000" y="9350"/>
                </a:moveTo>
                <a:lnTo>
                  <a:pt x="60000" y="9350"/>
                </a:lnTo>
                <a:cubicBezTo>
                  <a:pt x="79189" y="9350"/>
                  <a:pt x="86486" y="16103"/>
                  <a:pt x="86486" y="18441"/>
                </a:cubicBezTo>
                <a:cubicBezTo>
                  <a:pt x="86486" y="20779"/>
                  <a:pt x="79189" y="27532"/>
                  <a:pt x="60000" y="29870"/>
                </a:cubicBezTo>
                <a:cubicBezTo>
                  <a:pt x="40810" y="27532"/>
                  <a:pt x="33513" y="20779"/>
                  <a:pt x="33513" y="18441"/>
                </a:cubicBezTo>
                <a:cubicBezTo>
                  <a:pt x="33513" y="16103"/>
                  <a:pt x="40810" y="9350"/>
                  <a:pt x="60000" y="9350"/>
                </a:cubicBezTo>
                <a:close/>
                <a:moveTo>
                  <a:pt x="9729" y="23116"/>
                </a:moveTo>
                <a:lnTo>
                  <a:pt x="9729" y="23116"/>
                </a:lnTo>
                <a:cubicBezTo>
                  <a:pt x="26486" y="23116"/>
                  <a:pt x="26486" y="23116"/>
                  <a:pt x="26486" y="23116"/>
                </a:cubicBezTo>
                <a:cubicBezTo>
                  <a:pt x="26486" y="36883"/>
                  <a:pt x="28918" y="48311"/>
                  <a:pt x="33513" y="55064"/>
                </a:cubicBezTo>
                <a:cubicBezTo>
                  <a:pt x="21621" y="48311"/>
                  <a:pt x="9729" y="39220"/>
                  <a:pt x="9729" y="231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45700" tIns="22850" rIns="45700" bIns="22850" anchor="ctr" anchorCtr="0">
            <a:noAutofit/>
          </a:bodyPr>
          <a:lstStyle/>
          <a:p>
            <a:endParaRPr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30" name="Shape 512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388472" y="2489219"/>
            <a:ext cx="361608" cy="320285"/>
          </a:xfrm>
          <a:custGeom>
            <a:avLst/>
            <a:gdLst/>
            <a:ahLst/>
            <a:cxnLst/>
            <a:rect l="0" t="0" r="0" b="0"/>
            <a:pathLst>
              <a:path w="119999" h="119999" extrusionOk="0">
                <a:moveTo>
                  <a:pt x="117396" y="62493"/>
                </a:moveTo>
                <a:lnTo>
                  <a:pt x="117396" y="62493"/>
                </a:lnTo>
                <a:cubicBezTo>
                  <a:pt x="64295" y="4987"/>
                  <a:pt x="64295" y="4987"/>
                  <a:pt x="64295" y="4987"/>
                </a:cubicBezTo>
                <a:cubicBezTo>
                  <a:pt x="61952" y="0"/>
                  <a:pt x="57527" y="0"/>
                  <a:pt x="55184" y="4987"/>
                </a:cubicBezTo>
                <a:cubicBezTo>
                  <a:pt x="2342" y="62493"/>
                  <a:pt x="2342" y="62493"/>
                  <a:pt x="2342" y="62493"/>
                </a:cubicBezTo>
                <a:cubicBezTo>
                  <a:pt x="0" y="64841"/>
                  <a:pt x="2342" y="67481"/>
                  <a:pt x="4685" y="67481"/>
                </a:cubicBezTo>
                <a:cubicBezTo>
                  <a:pt x="16138" y="67481"/>
                  <a:pt x="16138" y="67481"/>
                  <a:pt x="16138" y="67481"/>
                </a:cubicBezTo>
                <a:cubicBezTo>
                  <a:pt x="16138" y="114425"/>
                  <a:pt x="16138" y="114425"/>
                  <a:pt x="16138" y="114425"/>
                </a:cubicBezTo>
                <a:cubicBezTo>
                  <a:pt x="16138" y="117066"/>
                  <a:pt x="16138" y="119706"/>
                  <a:pt x="20563" y="119706"/>
                </a:cubicBezTo>
                <a:cubicBezTo>
                  <a:pt x="46073" y="119706"/>
                  <a:pt x="46073" y="119706"/>
                  <a:pt x="46073" y="119706"/>
                </a:cubicBezTo>
                <a:cubicBezTo>
                  <a:pt x="46073" y="72762"/>
                  <a:pt x="46073" y="72762"/>
                  <a:pt x="46073" y="72762"/>
                </a:cubicBezTo>
                <a:cubicBezTo>
                  <a:pt x="73665" y="72762"/>
                  <a:pt x="73665" y="72762"/>
                  <a:pt x="73665" y="72762"/>
                </a:cubicBezTo>
                <a:cubicBezTo>
                  <a:pt x="73665" y="119706"/>
                  <a:pt x="73665" y="119706"/>
                  <a:pt x="73665" y="119706"/>
                </a:cubicBezTo>
                <a:cubicBezTo>
                  <a:pt x="99175" y="119706"/>
                  <a:pt x="99175" y="119706"/>
                  <a:pt x="99175" y="119706"/>
                </a:cubicBezTo>
                <a:cubicBezTo>
                  <a:pt x="103600" y="119706"/>
                  <a:pt x="103600" y="117066"/>
                  <a:pt x="103600" y="114425"/>
                </a:cubicBezTo>
                <a:cubicBezTo>
                  <a:pt x="103600" y="67481"/>
                  <a:pt x="103600" y="67481"/>
                  <a:pt x="103600" y="67481"/>
                </a:cubicBezTo>
                <a:cubicBezTo>
                  <a:pt x="115314" y="67481"/>
                  <a:pt x="115314" y="67481"/>
                  <a:pt x="115314" y="67481"/>
                </a:cubicBezTo>
                <a:cubicBezTo>
                  <a:pt x="117396" y="67481"/>
                  <a:pt x="119739" y="64841"/>
                  <a:pt x="117396" y="62493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45700" tIns="22850" rIns="45700" bIns="22850" anchor="ctr" anchorCtr="0">
            <a:noAutofit/>
          </a:bodyPr>
          <a:lstStyle/>
          <a:p>
            <a:endParaRPr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31" name="Shape 5144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6363283" y="3464170"/>
            <a:ext cx="389209" cy="334091"/>
          </a:xfrm>
          <a:custGeom>
            <a:avLst/>
            <a:gdLst/>
            <a:ahLst/>
            <a:cxnLst/>
            <a:rect l="0" t="0" r="0" b="0"/>
            <a:pathLst>
              <a:path w="119999" h="119999" extrusionOk="0">
                <a:moveTo>
                  <a:pt x="55533" y="65070"/>
                </a:moveTo>
                <a:lnTo>
                  <a:pt x="55533" y="65070"/>
                </a:lnTo>
                <a:cubicBezTo>
                  <a:pt x="66156" y="65070"/>
                  <a:pt x="66156" y="65070"/>
                  <a:pt x="66156" y="65070"/>
                </a:cubicBezTo>
                <a:cubicBezTo>
                  <a:pt x="66156" y="77464"/>
                  <a:pt x="66156" y="77464"/>
                  <a:pt x="66156" y="77464"/>
                </a:cubicBezTo>
                <a:cubicBezTo>
                  <a:pt x="119758" y="77464"/>
                  <a:pt x="119758" y="77464"/>
                  <a:pt x="119758" y="77464"/>
                </a:cubicBezTo>
                <a:cubicBezTo>
                  <a:pt x="119758" y="77464"/>
                  <a:pt x="119758" y="47323"/>
                  <a:pt x="117585" y="37464"/>
                </a:cubicBezTo>
                <a:cubicBezTo>
                  <a:pt x="117585" y="27323"/>
                  <a:pt x="115412" y="22535"/>
                  <a:pt x="106961" y="22535"/>
                </a:cubicBezTo>
                <a:cubicBezTo>
                  <a:pt x="87645" y="22535"/>
                  <a:pt x="87645" y="22535"/>
                  <a:pt x="87645" y="22535"/>
                </a:cubicBezTo>
                <a:cubicBezTo>
                  <a:pt x="83299" y="14929"/>
                  <a:pt x="81368" y="7605"/>
                  <a:pt x="81368" y="7605"/>
                </a:cubicBezTo>
                <a:cubicBezTo>
                  <a:pt x="79195" y="2535"/>
                  <a:pt x="77022" y="0"/>
                  <a:pt x="72434" y="0"/>
                </a:cubicBezTo>
                <a:cubicBezTo>
                  <a:pt x="46841" y="0"/>
                  <a:pt x="46841" y="0"/>
                  <a:pt x="46841" y="0"/>
                </a:cubicBezTo>
                <a:cubicBezTo>
                  <a:pt x="42736" y="0"/>
                  <a:pt x="40563" y="2535"/>
                  <a:pt x="40563" y="7605"/>
                </a:cubicBezTo>
                <a:cubicBezTo>
                  <a:pt x="38390" y="7605"/>
                  <a:pt x="36217" y="14929"/>
                  <a:pt x="32112" y="22535"/>
                </a:cubicBezTo>
                <a:cubicBezTo>
                  <a:pt x="12796" y="22535"/>
                  <a:pt x="12796" y="22535"/>
                  <a:pt x="12796" y="22535"/>
                </a:cubicBezTo>
                <a:cubicBezTo>
                  <a:pt x="4104" y="22535"/>
                  <a:pt x="2173" y="27323"/>
                  <a:pt x="2173" y="37464"/>
                </a:cubicBezTo>
                <a:cubicBezTo>
                  <a:pt x="0" y="47323"/>
                  <a:pt x="0" y="77464"/>
                  <a:pt x="0" y="77464"/>
                </a:cubicBezTo>
                <a:cubicBezTo>
                  <a:pt x="55533" y="77464"/>
                  <a:pt x="55533" y="77464"/>
                  <a:pt x="55533" y="77464"/>
                </a:cubicBezTo>
                <a:lnTo>
                  <a:pt x="55533" y="65070"/>
                </a:lnTo>
                <a:close/>
                <a:moveTo>
                  <a:pt x="44909" y="14929"/>
                </a:moveTo>
                <a:lnTo>
                  <a:pt x="44909" y="14929"/>
                </a:lnTo>
                <a:cubicBezTo>
                  <a:pt x="46841" y="12394"/>
                  <a:pt x="46841" y="10140"/>
                  <a:pt x="51187" y="10140"/>
                </a:cubicBezTo>
                <a:cubicBezTo>
                  <a:pt x="68571" y="10140"/>
                  <a:pt x="68571" y="10140"/>
                  <a:pt x="68571" y="10140"/>
                </a:cubicBezTo>
                <a:cubicBezTo>
                  <a:pt x="72434" y="10140"/>
                  <a:pt x="72434" y="12394"/>
                  <a:pt x="74607" y="14929"/>
                </a:cubicBezTo>
                <a:cubicBezTo>
                  <a:pt x="74607" y="14929"/>
                  <a:pt x="77022" y="20000"/>
                  <a:pt x="77022" y="22535"/>
                </a:cubicBezTo>
                <a:cubicBezTo>
                  <a:pt x="42736" y="22535"/>
                  <a:pt x="42736" y="22535"/>
                  <a:pt x="42736" y="22535"/>
                </a:cubicBezTo>
                <a:cubicBezTo>
                  <a:pt x="44909" y="20000"/>
                  <a:pt x="44909" y="14929"/>
                  <a:pt x="44909" y="14929"/>
                </a:cubicBezTo>
                <a:close/>
                <a:moveTo>
                  <a:pt x="66156" y="100000"/>
                </a:moveTo>
                <a:lnTo>
                  <a:pt x="66156" y="100000"/>
                </a:lnTo>
                <a:cubicBezTo>
                  <a:pt x="55533" y="100000"/>
                  <a:pt x="55533" y="100000"/>
                  <a:pt x="55533" y="100000"/>
                </a:cubicBezTo>
                <a:cubicBezTo>
                  <a:pt x="55533" y="85070"/>
                  <a:pt x="55533" y="85070"/>
                  <a:pt x="55533" y="85070"/>
                </a:cubicBezTo>
                <a:cubicBezTo>
                  <a:pt x="2173" y="85070"/>
                  <a:pt x="2173" y="85070"/>
                  <a:pt x="2173" y="85070"/>
                </a:cubicBezTo>
                <a:cubicBezTo>
                  <a:pt x="2173" y="85070"/>
                  <a:pt x="4104" y="97464"/>
                  <a:pt x="4104" y="107323"/>
                </a:cubicBezTo>
                <a:cubicBezTo>
                  <a:pt x="4104" y="112394"/>
                  <a:pt x="6277" y="119718"/>
                  <a:pt x="14969" y="119718"/>
                </a:cubicBezTo>
                <a:cubicBezTo>
                  <a:pt x="104788" y="119718"/>
                  <a:pt x="104788" y="119718"/>
                  <a:pt x="104788" y="119718"/>
                </a:cubicBezTo>
                <a:cubicBezTo>
                  <a:pt x="113239" y="119718"/>
                  <a:pt x="115412" y="112394"/>
                  <a:pt x="115412" y="107323"/>
                </a:cubicBezTo>
                <a:cubicBezTo>
                  <a:pt x="115412" y="97464"/>
                  <a:pt x="117585" y="85070"/>
                  <a:pt x="117585" y="85070"/>
                </a:cubicBezTo>
                <a:cubicBezTo>
                  <a:pt x="66156" y="85070"/>
                  <a:pt x="66156" y="85070"/>
                  <a:pt x="66156" y="85070"/>
                </a:cubicBezTo>
                <a:lnTo>
                  <a:pt x="66156" y="100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45700" tIns="22850" rIns="45700" bIns="22850" anchor="ctr" anchorCtr="0">
            <a:noAutofit/>
          </a:bodyPr>
          <a:lstStyle/>
          <a:p>
            <a:endParaRPr dirty="0">
              <a:solidFill>
                <a:schemeClr val="dk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等线" panose="02010600030101010101" charset="-122"/>
              <a:sym typeface="等线"/>
            </a:endParaRPr>
          </a:p>
        </p:txBody>
      </p:sp>
      <p:sp>
        <p:nvSpPr>
          <p:cNvPr id="2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 spd="slow">
    <p:push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6576645" y="1317099"/>
            <a:ext cx="4223801" cy="4223801"/>
            <a:chOff x="7075223" y="1872222"/>
            <a:chExt cx="3391116" cy="3391116"/>
          </a:xfrm>
        </p:grpSpPr>
        <p:sp>
          <p:nvSpPr>
            <p:cNvPr id="5" name="Bogen 4"/>
            <p:cNvSpPr/>
            <p:nvPr/>
          </p:nvSpPr>
          <p:spPr>
            <a:xfrm rot="8100000">
              <a:off x="7075223" y="1872222"/>
              <a:ext cx="3391116" cy="3391116"/>
            </a:xfrm>
            <a:prstGeom prst="arc">
              <a:avLst>
                <a:gd name="adj1" fmla="val 3870643"/>
                <a:gd name="adj2" fmla="val 15880060"/>
              </a:avLst>
            </a:prstGeom>
            <a:ln w="3175"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900" dirty="0">
                <a:cs typeface="等线" panose="02010600030101010101" charset="-122"/>
              </a:endParaRPr>
            </a:p>
          </p:txBody>
        </p:sp>
        <p:sp>
          <p:nvSpPr>
            <p:cNvPr id="46" name="Bogen 45"/>
            <p:cNvSpPr/>
            <p:nvPr/>
          </p:nvSpPr>
          <p:spPr>
            <a:xfrm rot="16200000">
              <a:off x="7190387" y="1987387"/>
              <a:ext cx="3160788" cy="3160788"/>
            </a:xfrm>
            <a:prstGeom prst="arc">
              <a:avLst>
                <a:gd name="adj1" fmla="val 1060776"/>
                <a:gd name="adj2" fmla="val 15880060"/>
              </a:avLst>
            </a:prstGeom>
            <a:ln w="3175">
              <a:solidFill>
                <a:schemeClr val="tx1"/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900" dirty="0">
                <a:cs typeface="等线" panose="02010600030101010101" charset="-122"/>
              </a:endParaRPr>
            </a:p>
          </p:txBody>
        </p:sp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50444" y="2152272"/>
              <a:ext cx="2870171" cy="2870171"/>
            </a:xfrm>
            <a:prstGeom prst="rect">
              <a:avLst/>
            </a:prstGeom>
          </p:spPr>
        </p:pic>
      </p:grpSp>
      <p:grpSp>
        <p:nvGrpSpPr>
          <p:cNvPr id="12" name="Group 12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1084385" y="3626827"/>
            <a:ext cx="2374491" cy="2506540"/>
            <a:chOff x="1066800" y="3257550"/>
            <a:chExt cx="2374491" cy="2506540"/>
          </a:xfrm>
        </p:grpSpPr>
        <p:sp>
          <p:nvSpPr>
            <p:cNvPr id="13" name="Rectangle: Rounded Corners 9"/>
            <p:cNvSpPr/>
            <p:nvPr/>
          </p:nvSpPr>
          <p:spPr>
            <a:xfrm>
              <a:off x="1066800" y="3257550"/>
              <a:ext cx="2374491" cy="2506540"/>
            </a:xfrm>
            <a:prstGeom prst="roundRect">
              <a:avLst>
                <a:gd name="adj" fmla="val 486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cs typeface="等线" panose="02010600030101010101" charset="-122"/>
              </a:endParaRPr>
            </a:p>
          </p:txBody>
        </p:sp>
        <p:grpSp>
          <p:nvGrpSpPr>
            <p:cNvPr id="14" name="Group 1"/>
            <p:cNvGrpSpPr/>
            <p:nvPr/>
          </p:nvGrpSpPr>
          <p:grpSpPr>
            <a:xfrm>
              <a:off x="1174174" y="3583746"/>
              <a:ext cx="2159742" cy="2075766"/>
              <a:chOff x="1014674" y="3888088"/>
              <a:chExt cx="2159742" cy="2075766"/>
            </a:xfrm>
          </p:grpSpPr>
          <p:graphicFrame>
            <p:nvGraphicFramePr>
              <p:cNvPr id="16" name="Chart 2"/>
              <p:cNvGraphicFramePr/>
              <p:nvPr/>
            </p:nvGraphicFramePr>
            <p:xfrm>
              <a:off x="1014674" y="3888088"/>
              <a:ext cx="2159742" cy="207576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21" name="Oval 3"/>
              <p:cNvSpPr/>
              <p:nvPr/>
            </p:nvSpPr>
            <p:spPr>
              <a:xfrm>
                <a:off x="1681477" y="4243648"/>
                <a:ext cx="826138" cy="8261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等线" panose="02010600030101010101" charset="-122"/>
                  </a:rPr>
                  <a:t>66%</a:t>
                </a:r>
              </a:p>
            </p:txBody>
          </p:sp>
        </p:grpSp>
      </p:grpSp>
      <p:grpSp>
        <p:nvGrpSpPr>
          <p:cNvPr id="22" name="Group 13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3562114" y="3626827"/>
            <a:ext cx="2374491" cy="2506540"/>
            <a:chOff x="3544529" y="3257550"/>
            <a:chExt cx="2374491" cy="2506540"/>
          </a:xfrm>
        </p:grpSpPr>
        <p:sp>
          <p:nvSpPr>
            <p:cNvPr id="23" name="Rectangle: Rounded Corners 10"/>
            <p:cNvSpPr/>
            <p:nvPr/>
          </p:nvSpPr>
          <p:spPr>
            <a:xfrm>
              <a:off x="3544529" y="3257550"/>
              <a:ext cx="2374491" cy="2506540"/>
            </a:xfrm>
            <a:prstGeom prst="roundRect">
              <a:avLst>
                <a:gd name="adj" fmla="val 4866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14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d-ID" dirty="0">
                <a:cs typeface="等线" panose="02010600030101010101" charset="-122"/>
              </a:endParaRPr>
            </a:p>
          </p:txBody>
        </p:sp>
        <p:grpSp>
          <p:nvGrpSpPr>
            <p:cNvPr id="24" name="Group 4"/>
            <p:cNvGrpSpPr/>
            <p:nvPr/>
          </p:nvGrpSpPr>
          <p:grpSpPr>
            <a:xfrm>
              <a:off x="3616474" y="3577136"/>
              <a:ext cx="2159742" cy="2075766"/>
              <a:chOff x="3646971" y="3881478"/>
              <a:chExt cx="2159742" cy="2075766"/>
            </a:xfrm>
          </p:grpSpPr>
          <p:graphicFrame>
            <p:nvGraphicFramePr>
              <p:cNvPr id="25" name="Chart 5"/>
              <p:cNvGraphicFramePr/>
              <p:nvPr/>
            </p:nvGraphicFramePr>
            <p:xfrm>
              <a:off x="3646971" y="3881478"/>
              <a:ext cx="2159742" cy="207576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26" name="Oval 6"/>
              <p:cNvSpPr/>
              <p:nvPr/>
            </p:nvSpPr>
            <p:spPr>
              <a:xfrm>
                <a:off x="4313773" y="4237038"/>
                <a:ext cx="826138" cy="82613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1400" dirty="0">
                    <a:solidFill>
                      <a:schemeClr val="tx1">
                        <a:lumMod val="65000"/>
                        <a:lumOff val="35000"/>
                      </a:schemeClr>
                    </a:solidFill>
                    <a:cs typeface="等线" panose="02010600030101010101" charset="-122"/>
                  </a:rPr>
                  <a:t>82%</a:t>
                </a:r>
              </a:p>
            </p:txBody>
          </p:sp>
        </p:grpSp>
      </p:grpSp>
      <p:sp>
        <p:nvSpPr>
          <p:cNvPr id="27" name="Rectangle 15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933033" y="2578393"/>
            <a:ext cx="45719" cy="7119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 dirty="0">
              <a:cs typeface="等线" panose="02010600030101010101" charset="-122"/>
            </a:endParaRPr>
          </a:p>
        </p:txBody>
      </p:sp>
      <p:sp>
        <p:nvSpPr>
          <p:cNvPr id="28" name="TextBox 16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 txBox="1"/>
          <p:nvPr/>
        </p:nvSpPr>
        <p:spPr>
          <a:xfrm>
            <a:off x="748564" y="809474"/>
            <a:ext cx="3132589" cy="1175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80000"/>
              </a:lnSpc>
            </a:pPr>
            <a:r>
              <a:rPr lang="id-ID" sz="4400" dirty="0">
                <a:solidFill>
                  <a:schemeClr val="accent1"/>
                </a:solidFill>
                <a:cs typeface="等线" panose="02010600030101010101" charset="-122"/>
              </a:rPr>
              <a:t>Business </a:t>
            </a:r>
          </a:p>
          <a:p>
            <a:pPr>
              <a:lnSpc>
                <a:spcPct val="80000"/>
              </a:lnSpc>
            </a:pPr>
            <a:r>
              <a:rPr lang="id-ID" sz="4400" dirty="0">
                <a:solidFill>
                  <a:schemeClr val="tx1">
                    <a:lumMod val="65000"/>
                    <a:lumOff val="35000"/>
                  </a:schemeClr>
                </a:solidFill>
                <a:cs typeface="等线" panose="02010600030101010101" charset="-122"/>
              </a:rPr>
              <a:t>Chart Slide</a:t>
            </a:r>
          </a:p>
        </p:txBody>
      </p:sp>
      <p:sp>
        <p:nvSpPr>
          <p:cNvPr id="29" name="Rectangle 31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SpPr/>
          <p:nvPr/>
        </p:nvSpPr>
        <p:spPr>
          <a:xfrm>
            <a:off x="1067712" y="2509699"/>
            <a:ext cx="4607723" cy="1185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sz="1200" dirty="0">
                <a:solidFill>
                  <a:schemeClr val="tx2"/>
                </a:solidFill>
                <a:cs typeface="等线" panose="02010600030101010101" charset="-122"/>
              </a:rPr>
              <a:t>This is a sample text. insert your desired text here. Again. this is a dummy text. enter your own text here. </a:t>
            </a:r>
            <a:r>
              <a:rPr lang="en-US" altLang="zh-CN" sz="1200" dirty="0">
                <a:solidFill>
                  <a:schemeClr val="tx2"/>
                </a:solidFill>
                <a:cs typeface="等线" panose="02010600030101010101" charset="-122"/>
              </a:rPr>
              <a:t>This is a sample text. insert your desired text here. Again. this is a dummy text. enter your own text here. </a:t>
            </a:r>
          </a:p>
          <a:p>
            <a:pPr algn="just">
              <a:lnSpc>
                <a:spcPct val="120000"/>
              </a:lnSpc>
            </a:pPr>
            <a:endParaRPr lang="en-US" sz="1200" dirty="0">
              <a:solidFill>
                <a:schemeClr val="tx2"/>
              </a:solidFill>
              <a:cs typeface="等线" panose="02010600030101010101" charset="-122"/>
            </a:endParaRPr>
          </a:p>
        </p:txBody>
      </p:sp>
      <p:grpSp>
        <p:nvGrpSpPr>
          <p:cNvPr id="30" name="组合 29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/>
          <p:cNvGrpSpPr/>
          <p:nvPr/>
        </p:nvGrpSpPr>
        <p:grpSpPr>
          <a:xfrm>
            <a:off x="968749" y="1949405"/>
            <a:ext cx="688468" cy="235211"/>
            <a:chOff x="4375901" y="3868502"/>
            <a:chExt cx="990347" cy="338346"/>
          </a:xfrm>
          <a:solidFill>
            <a:schemeClr val="tx2"/>
          </a:solidFill>
        </p:grpSpPr>
        <p:sp>
          <p:nvSpPr>
            <p:cNvPr id="31" name="Shape 115"/>
            <p:cNvSpPr/>
            <p:nvPr/>
          </p:nvSpPr>
          <p:spPr>
            <a:xfrm>
              <a:off x="4375901" y="3868502"/>
              <a:ext cx="664256" cy="33834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559" h="19925" extrusionOk="0">
                  <a:moveTo>
                    <a:pt x="3319" y="3995"/>
                  </a:moveTo>
                  <a:cubicBezTo>
                    <a:pt x="1512" y="4055"/>
                    <a:pt x="40" y="6659"/>
                    <a:pt x="1" y="9925"/>
                  </a:cubicBezTo>
                  <a:cubicBezTo>
                    <a:pt x="-33" y="12749"/>
                    <a:pt x="1046" y="15212"/>
                    <a:pt x="2568" y="15829"/>
                  </a:cubicBezTo>
                  <a:cubicBezTo>
                    <a:pt x="3254" y="16107"/>
                    <a:pt x="3967" y="15957"/>
                    <a:pt x="4611" y="15464"/>
                  </a:cubicBezTo>
                  <a:cubicBezTo>
                    <a:pt x="4837" y="15291"/>
                    <a:pt x="5054" y="15076"/>
                    <a:pt x="5253" y="14815"/>
                  </a:cubicBezTo>
                  <a:cubicBezTo>
                    <a:pt x="5426" y="14589"/>
                    <a:pt x="5584" y="14328"/>
                    <a:pt x="5750" y="14085"/>
                  </a:cubicBezTo>
                  <a:cubicBezTo>
                    <a:pt x="6449" y="13063"/>
                    <a:pt x="7297" y="12321"/>
                    <a:pt x="8221" y="12384"/>
                  </a:cubicBezTo>
                  <a:cubicBezTo>
                    <a:pt x="9802" y="12493"/>
                    <a:pt x="10930" y="14811"/>
                    <a:pt x="12055" y="16793"/>
                  </a:cubicBezTo>
                  <a:cubicBezTo>
                    <a:pt x="12255" y="17146"/>
                    <a:pt x="12459" y="17491"/>
                    <a:pt x="12667" y="17828"/>
                  </a:cubicBezTo>
                  <a:cubicBezTo>
                    <a:pt x="14327" y="20160"/>
                    <a:pt x="16573" y="20582"/>
                    <a:pt x="18461" y="18916"/>
                  </a:cubicBezTo>
                  <a:cubicBezTo>
                    <a:pt x="20360" y="17240"/>
                    <a:pt x="21567" y="13743"/>
                    <a:pt x="21560" y="9912"/>
                  </a:cubicBezTo>
                  <a:cubicBezTo>
                    <a:pt x="21552" y="6115"/>
                    <a:pt x="20352" y="2659"/>
                    <a:pt x="18468" y="1007"/>
                  </a:cubicBezTo>
                  <a:cubicBezTo>
                    <a:pt x="16158" y="-1018"/>
                    <a:pt x="13380" y="75"/>
                    <a:pt x="11787" y="3711"/>
                  </a:cubicBezTo>
                  <a:cubicBezTo>
                    <a:pt x="11560" y="4228"/>
                    <a:pt x="11367" y="4787"/>
                    <a:pt x="11135" y="5288"/>
                  </a:cubicBezTo>
                  <a:cubicBezTo>
                    <a:pt x="10428" y="6820"/>
                    <a:pt x="9394" y="7807"/>
                    <a:pt x="8265" y="7766"/>
                  </a:cubicBezTo>
                  <a:cubicBezTo>
                    <a:pt x="7375" y="7735"/>
                    <a:pt x="6541" y="7033"/>
                    <a:pt x="5830" y="6035"/>
                  </a:cubicBezTo>
                  <a:cubicBezTo>
                    <a:pt x="5522" y="5603"/>
                    <a:pt x="5237" y="5116"/>
                    <a:pt x="4904" y="4750"/>
                  </a:cubicBezTo>
                  <a:cubicBezTo>
                    <a:pt x="4427" y="4227"/>
                    <a:pt x="3876" y="3976"/>
                    <a:pt x="3319" y="3995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  <p:sp>
          <p:nvSpPr>
            <p:cNvPr id="32" name="Shape 116"/>
            <p:cNvSpPr/>
            <p:nvPr/>
          </p:nvSpPr>
          <p:spPr>
            <a:xfrm>
              <a:off x="5163057" y="3936236"/>
              <a:ext cx="203191" cy="203191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25400" tIns="25400" rIns="25400" bIns="25400" numCol="1" anchor="ctr">
              <a:noAutofit/>
            </a:bodyPr>
            <a:lstStyle/>
            <a:p>
              <a:pPr algn="ctr">
                <a:defRPr sz="320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sz="16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等线" panose="02010600030101010101" charset="-122"/>
                <a:sym typeface="等线"/>
              </a:endParaRPr>
            </a:p>
          </p:txBody>
        </p:sp>
      </p:grpSp>
      <p:sp>
        <p:nvSpPr>
          <p:cNvPr id="3" name="e7d195523061f1c0" descr="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" hidden="1"/>
          <p:cNvSpPr txBox="1"/>
          <p:nvPr/>
        </p:nvSpPr>
        <p:spPr>
          <a:xfrm>
            <a:off x="-355600" y="1803400"/>
            <a:ext cx="32201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>
                <a:cs typeface="等线" panose="02010600030101010101" charset="-122"/>
              </a:rPr>
              <a:t>e7d195523061f1c03a90ee8e42cb24248e56383cd534985688F9F494128731F165EE95AB4B0C0A38076AAEA07667B1565C446FC45FF01DFB0E885BCDBDF3A284F3DB14DA61DD97F0BAB2E6C668FB49318572749ECEB9B62201D5A2D1AB78A9602E1337685D2579F36CF4DA860069CA3C358B12A0F4E37FBED053D395D7A2377AED0AA06C0AC3EFDEA1E360D5601320DF</a:t>
            </a:r>
            <a:endParaRPr lang="zh-CN" altLang="en-US" sz="100" dirty="0">
              <a:cs typeface="等线" panose="02010600030101010101" charset="-122"/>
            </a:endParaRPr>
          </a:p>
        </p:txBody>
      </p:sp>
    </p:spTree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42000"/>
  <p:tag name="AS_OS" val="Microsoft Windows NT 6.1.7601 Service Pack 1"/>
  <p:tag name="AS_RELEASE_DATE" val="2022.11.14"/>
  <p:tag name="AS_TITLE" val="Aspose.Slides for .NET 4.0 Client Profile"/>
  <p:tag name="AS_VERSION" val="22.11"/>
  <p:tag name="COMMONDATA" val="eyJoZGlkIjoiMmMxNzY4NzliODJmOGYzMWEyZDdkODA0MWI0NTdiODcifQ=="/>
  <p:tag name="KSO_WPP_MARK_KEY" val="3dca891f-41cf-45c6-9ad7-2dccf9e124b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heme/theme1.xml><?xml version="1.0" encoding="utf-8"?>
<a:theme xmlns:a="http://schemas.openxmlformats.org/drawingml/2006/main" name="www.freeppt7.com">
  <a:themeElements>
    <a:clrScheme name="Office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668996"/>
      </a:accent1>
      <a:accent2>
        <a:srgbClr val="565C8A"/>
      </a:accent2>
      <a:accent3>
        <a:srgbClr val="8EAEC9"/>
      </a:accent3>
      <a:accent4>
        <a:srgbClr val="665954"/>
      </a:accent4>
      <a:accent5>
        <a:srgbClr val="A6998A"/>
      </a:accent5>
      <a:accent6>
        <a:srgbClr val="A1A7C7"/>
      </a:accent6>
      <a:hlink>
        <a:srgbClr val="56514B"/>
      </a:hlink>
      <a:folHlink>
        <a:srgbClr val="BFBFBF"/>
      </a:folHlink>
    </a:clrScheme>
    <a:fontScheme name="自定义 3">
      <a:majorFont>
        <a:latin typeface="微软雅黑"/>
        <a:ea typeface="微软雅黑"/>
        <a:cs typeface="Arial"/>
      </a:majorFont>
      <a:minorFont>
        <a:latin typeface="华文细黑"/>
        <a:ea typeface="微软雅黑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ww.jpppt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宋体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宋体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"/>
        <a:ea typeface="等线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等线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等线"/>
        <a:font script="Hebr" typeface="等线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等线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"/>
        <a:ea typeface="等线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等线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等线"/>
        <a:font script="Hebr" typeface="等线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等线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</Template>
  <TotalTime>24</TotalTime>
  <Words>2354</Words>
  <Application>Microsoft Office PowerPoint</Application>
  <PresentationFormat>宽屏</PresentationFormat>
  <Paragraphs>458</Paragraphs>
  <Slides>35</Slides>
  <Notes>34</Notes>
  <HiddenSlides>0</HiddenSlides>
  <MMClips>0</MMClips>
  <ScaleCrop>false</ScaleCrop>
  <HeadingPairs>
    <vt:vector size="6" baseType="variant">
      <vt:variant>
        <vt:lpstr>已用的字体</vt:lpstr>
      </vt:variant>
      <vt:variant>
        <vt:i4>7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35</vt:i4>
      </vt:variant>
    </vt:vector>
  </HeadingPairs>
  <TitlesOfParts>
    <vt:vector size="44" baseType="lpstr">
      <vt:lpstr>等线</vt:lpstr>
      <vt:lpstr>华文细黑</vt:lpstr>
      <vt:lpstr>思源黑体 CN Regular</vt:lpstr>
      <vt:lpstr>宋体</vt:lpstr>
      <vt:lpstr>微软雅黑</vt:lpstr>
      <vt:lpstr>Arial</vt:lpstr>
      <vt:lpstr>MS Reference Sans Serif</vt:lpstr>
      <vt:lpstr>www.freeppt7.com</vt:lpstr>
      <vt:lpstr>www.jpppt.com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About U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ModifiedBy>kaiweiliu9209@outlook.com</cp:lastModifiedBy>
  <cp:revision>3</cp:revision>
  <dcterms:created xsi:type="dcterms:W3CDTF">2018-06-30T05:42:00Z</dcterms:created>
  <dcterms:modified xsi:type="dcterms:W3CDTF">2024-11-07T07:4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E594B61C53A244C6AA997B94477C529E</vt:lpwstr>
  </property>
  <property fmtid="{D5CDD505-2E9C-101B-9397-08002B2CF9AE}" pid="3" name="KSOProductBuildVer">
    <vt:lpwstr>2052-12.1.0.18276</vt:lpwstr>
  </property>
</Properties>
</file>